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theme/themeOverride3.xml" ContentType="application/vnd.openxmlformats-officedocument.themeOverride+xml"/>
  <Override PartName="/ppt/tags/tag12.xml" ContentType="application/vnd.openxmlformats-officedocument.presentationml.tags+xml"/>
  <Override PartName="/ppt/theme/themeOverride4.xml" ContentType="application/vnd.openxmlformats-officedocument.themeOverride+xml"/>
  <Override PartName="/ppt/tags/tag13.xml" ContentType="application/vnd.openxmlformats-officedocument.presentationml.tags+xml"/>
  <Override PartName="/ppt/theme/themeOverride5.xml" ContentType="application/vnd.openxmlformats-officedocument.themeOverride+xml"/>
  <Override PartName="/ppt/tags/tag14.xml" ContentType="application/vnd.openxmlformats-officedocument.presentationml.tags+xml"/>
  <Override PartName="/ppt/theme/themeOverride6.xml" ContentType="application/vnd.openxmlformats-officedocument.themeOverride+xml"/>
  <Override PartName="/ppt/tags/tag15.xml" ContentType="application/vnd.openxmlformats-officedocument.presentationml.tags+xml"/>
  <Override PartName="/ppt/theme/themeOverride7.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heme/themeOverride8.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9.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10.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heme/themeOverride1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Override12.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theme/themeOverride1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Override14.xml" ContentType="application/vnd.openxmlformats-officedocument.themeOverride+xml"/>
  <Override PartName="/ppt/tags/tag41.xml" ContentType="application/vnd.openxmlformats-officedocument.presentationml.tags+xml"/>
  <Override PartName="/ppt/theme/themeOverride15.xml" ContentType="application/vnd.openxmlformats-officedocument.themeOverride+xml"/>
  <Override PartName="/ppt/tags/tag42.xml" ContentType="application/vnd.openxmlformats-officedocument.presentationml.tags+xml"/>
  <Override PartName="/ppt/theme/themeOverride16.xml" ContentType="application/vnd.openxmlformats-officedocument.themeOverride+xml"/>
  <Override PartName="/ppt/tags/tag43.xml" ContentType="application/vnd.openxmlformats-officedocument.presentationml.tags+xml"/>
  <Override PartName="/ppt/theme/themeOverride17.xml" ContentType="application/vnd.openxmlformats-officedocument.themeOverride+xml"/>
  <Override PartName="/ppt/tags/tag44.xml" ContentType="application/vnd.openxmlformats-officedocument.presentationml.tags+xml"/>
  <Override PartName="/ppt/theme/themeOverride18.xml" ContentType="application/vnd.openxmlformats-officedocument.themeOverride+xml"/>
  <Override PartName="/ppt/tags/tag45.xml" ContentType="application/vnd.openxmlformats-officedocument.presentationml.tags+xml"/>
  <Override PartName="/ppt/theme/themeOverride19.xml" ContentType="application/vnd.openxmlformats-officedocument.themeOverride+xml"/>
  <Override PartName="/ppt/tags/tag46.xml" ContentType="application/vnd.openxmlformats-officedocument.presentationml.tags+xml"/>
  <Override PartName="/ppt/theme/themeOverride20.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heme/themeOverride21.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heme/themeOverride22.xml" ContentType="application/vnd.openxmlformats-officedocument.themeOverride+xml"/>
  <Override PartName="/ppt/tags/tag51.xml" ContentType="application/vnd.openxmlformats-officedocument.presentationml.tags+xml"/>
  <Override PartName="/ppt/tags/tag52.xml" ContentType="application/vnd.openxmlformats-officedocument.presentationml.tags+xml"/>
  <Override PartName="/ppt/theme/themeOverride23.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heme/themeOverride24.xml" ContentType="application/vnd.openxmlformats-officedocument.themeOverr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5.xml" ContentType="application/vnd.openxmlformats-officedocument.themeOverride+xml"/>
  <Override PartName="/ppt/tags/tag59.xml" ContentType="application/vnd.openxmlformats-officedocument.presentationml.tags+xml"/>
  <Override PartName="/ppt/theme/themeOverride26.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27.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heme/themeOverride28.xml" ContentType="application/vnd.openxmlformats-officedocument.themeOverride+xml"/>
  <Override PartName="/ppt/tags/tag67.xml" ContentType="application/vnd.openxmlformats-officedocument.presentationml.tags+xml"/>
  <Override PartName="/ppt/theme/themeOverride29.xml" ContentType="application/vnd.openxmlformats-officedocument.themeOverride+xml"/>
  <Override PartName="/ppt/tags/tag68.xml" ContentType="application/vnd.openxmlformats-officedocument.presentationml.tags+xml"/>
  <Override PartName="/ppt/theme/themeOverride30.xml" ContentType="application/vnd.openxmlformats-officedocument.themeOverr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Override31.xml" ContentType="application/vnd.openxmlformats-officedocument.themeOverride+xml"/>
  <Override PartName="/ppt/tags/tag74.xml" ContentType="application/vnd.openxmlformats-officedocument.presentationml.tags+xml"/>
  <Override PartName="/ppt/theme/themeOverride32.xml" ContentType="application/vnd.openxmlformats-officedocument.themeOverride+xml"/>
  <Override PartName="/ppt/tags/tag75.xml" ContentType="application/vnd.openxmlformats-officedocument.presentationml.tags+xml"/>
  <Override PartName="/ppt/theme/theme2.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3.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4.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notesSlides/notesSlide7.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9.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0.xml" ContentType="application/vnd.openxmlformats-officedocument.presentationml.notesSlide+xml"/>
  <Override PartName="/ppt/tags/tag124.xml" ContentType="application/vnd.openxmlformats-officedocument.presentationml.tags+xml"/>
  <Override PartName="/ppt/notesSlides/notesSlide11.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2.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6"/>
  </p:sldMasterIdLst>
  <p:notesMasterIdLst>
    <p:notesMasterId r:id="rId21"/>
  </p:notesMasterIdLst>
  <p:sldIdLst>
    <p:sldId id="257" r:id="rId7"/>
    <p:sldId id="259" r:id="rId8"/>
    <p:sldId id="256" r:id="rId9"/>
    <p:sldId id="263" r:id="rId10"/>
    <p:sldId id="2147483647" r:id="rId11"/>
    <p:sldId id="264" r:id="rId12"/>
    <p:sldId id="270" r:id="rId13"/>
    <p:sldId id="265" r:id="rId14"/>
    <p:sldId id="2147483644" r:id="rId15"/>
    <p:sldId id="261" r:id="rId16"/>
    <p:sldId id="343" r:id="rId17"/>
    <p:sldId id="266" r:id="rId18"/>
    <p:sldId id="267" r:id="rId19"/>
    <p:sldId id="2147483517"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9C422"/>
    <a:srgbClr val="FB0278"/>
    <a:srgbClr val="FFFFFF"/>
    <a:srgbClr val="00B0F0"/>
    <a:srgbClr val="92D050"/>
    <a:srgbClr val="00B050"/>
    <a:srgbClr val="1A5BA7"/>
    <a:srgbClr val="457AB8"/>
    <a:srgbClr val="F2F2F2"/>
    <a:srgbClr val="264E8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D52112-171E-45A1-9297-478C767F8E69}" v="28" dt="2025-04-15T14:15:59.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500" autoAdjust="0"/>
  </p:normalViewPr>
  <p:slideViewPr>
    <p:cSldViewPr snapToGrid="0">
      <p:cViewPr>
        <p:scale>
          <a:sx n="75" d="100"/>
          <a:sy n="75" d="100"/>
        </p:scale>
        <p:origin x="780" y="10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 Tyler" userId="d95ade4d-0576-43d0-bb19-3f7a19f59750" providerId="ADAL" clId="{D0D52112-171E-45A1-9297-478C767F8E69}"/>
    <pc:docChg chg="undo custSel addSld delSld modSld sldOrd">
      <pc:chgData name="Joseph, Tyler" userId="d95ade4d-0576-43d0-bb19-3f7a19f59750" providerId="ADAL" clId="{D0D52112-171E-45A1-9297-478C767F8E69}" dt="2025-04-15T14:15:59.028" v="107"/>
      <pc:docMkLst>
        <pc:docMk/>
      </pc:docMkLst>
      <pc:sldChg chg="addSp modSp mod">
        <pc:chgData name="Joseph, Tyler" userId="d95ade4d-0576-43d0-bb19-3f7a19f59750" providerId="ADAL" clId="{D0D52112-171E-45A1-9297-478C767F8E69}" dt="2025-04-15T14:13:01.988" v="38" actId="1076"/>
        <pc:sldMkLst>
          <pc:docMk/>
          <pc:sldMk cId="1802010013" sldId="256"/>
        </pc:sldMkLst>
        <pc:spChg chg="add mod">
          <ac:chgData name="Joseph, Tyler" userId="d95ade4d-0576-43d0-bb19-3f7a19f59750" providerId="ADAL" clId="{D0D52112-171E-45A1-9297-478C767F8E69}" dt="2025-04-15T14:13:01.988" v="38" actId="1076"/>
          <ac:spMkLst>
            <pc:docMk/>
            <pc:sldMk cId="1802010013" sldId="256"/>
            <ac:spMk id="4" creationId="{9EF795B4-0BE7-6F1F-F61D-1BE1E0DF61FE}"/>
          </ac:spMkLst>
        </pc:spChg>
        <pc:spChg chg="mod">
          <ac:chgData name="Joseph, Tyler" userId="d95ade4d-0576-43d0-bb19-3f7a19f59750" providerId="ADAL" clId="{D0D52112-171E-45A1-9297-478C767F8E69}" dt="2025-04-15T14:13:01.979" v="32" actId="1076"/>
          <ac:spMkLst>
            <pc:docMk/>
            <pc:sldMk cId="1802010013" sldId="256"/>
            <ac:spMk id="26" creationId="{24C72E6D-AA68-754A-6641-CA84E9186257}"/>
          </ac:spMkLst>
        </pc:spChg>
        <pc:spChg chg="mod">
          <ac:chgData name="Joseph, Tyler" userId="d95ade4d-0576-43d0-bb19-3f7a19f59750" providerId="ADAL" clId="{D0D52112-171E-45A1-9297-478C767F8E69}" dt="2025-04-15T14:13:01.979" v="34" actId="1076"/>
          <ac:spMkLst>
            <pc:docMk/>
            <pc:sldMk cId="1802010013" sldId="256"/>
            <ac:spMk id="29" creationId="{183A2AFF-0745-F3D0-CD42-ED0019D0A187}"/>
          </ac:spMkLst>
        </pc:spChg>
        <pc:spChg chg="mod">
          <ac:chgData name="Joseph, Tyler" userId="d95ade4d-0576-43d0-bb19-3f7a19f59750" providerId="ADAL" clId="{D0D52112-171E-45A1-9297-478C767F8E69}" dt="2025-04-15T14:13:01.979" v="36" actId="1076"/>
          <ac:spMkLst>
            <pc:docMk/>
            <pc:sldMk cId="1802010013" sldId="256"/>
            <ac:spMk id="31" creationId="{F42EB459-1742-602F-3D73-C42F1328E948}"/>
          </ac:spMkLst>
        </pc:spChg>
        <pc:graphicFrameChg chg="mod modGraphic">
          <ac:chgData name="Joseph, Tyler" userId="d95ade4d-0576-43d0-bb19-3f7a19f59750" providerId="ADAL" clId="{D0D52112-171E-45A1-9297-478C767F8E69}" dt="2025-04-15T14:12:47.279" v="25"/>
          <ac:graphicFrameMkLst>
            <pc:docMk/>
            <pc:sldMk cId="1802010013" sldId="256"/>
            <ac:graphicFrameMk id="9" creationId="{714D0041-C2C8-46A7-02AB-370E0F9D0604}"/>
          </ac:graphicFrameMkLst>
        </pc:graphicFrameChg>
      </pc:sldChg>
      <pc:sldChg chg="modSp add del mod">
        <pc:chgData name="Joseph, Tyler" userId="d95ade4d-0576-43d0-bb19-3f7a19f59750" providerId="ADAL" clId="{D0D52112-171E-45A1-9297-478C767F8E69}" dt="2025-04-15T14:14:21.777" v="60" actId="47"/>
        <pc:sldMkLst>
          <pc:docMk/>
          <pc:sldMk cId="2428268712" sldId="258"/>
        </pc:sldMkLst>
        <pc:graphicFrameChg chg="mod">
          <ac:chgData name="Joseph, Tyler" userId="d95ade4d-0576-43d0-bb19-3f7a19f59750" providerId="ADAL" clId="{D0D52112-171E-45A1-9297-478C767F8E69}" dt="2025-04-15T14:13:07.709" v="42"/>
          <ac:graphicFrameMkLst>
            <pc:docMk/>
            <pc:sldMk cId="2428268712" sldId="258"/>
            <ac:graphicFrameMk id="38" creationId="{65914924-58BD-19A9-E253-0291159E10CF}"/>
          </ac:graphicFrameMkLst>
        </pc:graphicFrameChg>
      </pc:sldChg>
      <pc:sldChg chg="del">
        <pc:chgData name="Joseph, Tyler" userId="d95ade4d-0576-43d0-bb19-3f7a19f59750" providerId="ADAL" clId="{D0D52112-171E-45A1-9297-478C767F8E69}" dt="2025-04-15T14:14:28.917" v="62" actId="47"/>
        <pc:sldMkLst>
          <pc:docMk/>
          <pc:sldMk cId="2441329618" sldId="260"/>
        </pc:sldMkLst>
      </pc:sldChg>
      <pc:sldChg chg="del">
        <pc:chgData name="Joseph, Tyler" userId="d95ade4d-0576-43d0-bb19-3f7a19f59750" providerId="ADAL" clId="{D0D52112-171E-45A1-9297-478C767F8E69}" dt="2025-04-15T14:14:40.031" v="66" actId="47"/>
        <pc:sldMkLst>
          <pc:docMk/>
          <pc:sldMk cId="2789057163" sldId="262"/>
        </pc:sldMkLst>
      </pc:sldChg>
      <pc:sldChg chg="modSp add mod ord modNotesTx">
        <pc:chgData name="Joseph, Tyler" userId="d95ade4d-0576-43d0-bb19-3f7a19f59750" providerId="ADAL" clId="{D0D52112-171E-45A1-9297-478C767F8E69}" dt="2025-04-15T14:14:19.519" v="59"/>
        <pc:sldMkLst>
          <pc:docMk/>
          <pc:sldMk cId="2657653335" sldId="263"/>
        </pc:sldMkLst>
        <pc:graphicFrameChg chg="modGraphic">
          <ac:chgData name="Joseph, Tyler" userId="d95ade4d-0576-43d0-bb19-3f7a19f59750" providerId="ADAL" clId="{D0D52112-171E-45A1-9297-478C767F8E69}" dt="2025-04-15T14:13:22.113" v="47" actId="207"/>
          <ac:graphicFrameMkLst>
            <pc:docMk/>
            <pc:sldMk cId="2657653335" sldId="263"/>
            <ac:graphicFrameMk id="9" creationId="{783E4F7C-9829-ADD8-84C1-8B5EADFCBB23}"/>
          </ac:graphicFrameMkLst>
        </pc:graphicFrameChg>
      </pc:sldChg>
      <pc:sldChg chg="modSp add mod ord modNotesTx">
        <pc:chgData name="Joseph, Tyler" userId="d95ade4d-0576-43d0-bb19-3f7a19f59750" providerId="ADAL" clId="{D0D52112-171E-45A1-9297-478C767F8E69}" dt="2025-04-15T14:14:27.288" v="61"/>
        <pc:sldMkLst>
          <pc:docMk/>
          <pc:sldMk cId="1383649575" sldId="264"/>
        </pc:sldMkLst>
        <pc:graphicFrameChg chg="modGraphic">
          <ac:chgData name="Joseph, Tyler" userId="d95ade4d-0576-43d0-bb19-3f7a19f59750" providerId="ADAL" clId="{D0D52112-171E-45A1-9297-478C767F8E69}" dt="2025-04-15T14:13:25.809" v="48" actId="207"/>
          <ac:graphicFrameMkLst>
            <pc:docMk/>
            <pc:sldMk cId="1383649575" sldId="264"/>
            <ac:graphicFrameMk id="9" creationId="{F4C1DF1C-2726-6BA9-159B-F4E455D3E4E3}"/>
          </ac:graphicFrameMkLst>
        </pc:graphicFrameChg>
      </pc:sldChg>
      <pc:sldChg chg="addSp delSp modSp add mod ord modNotesTx">
        <pc:chgData name="Joseph, Tyler" userId="d95ade4d-0576-43d0-bb19-3f7a19f59750" providerId="ADAL" clId="{D0D52112-171E-45A1-9297-478C767F8E69}" dt="2025-04-15T14:14:38.044" v="65"/>
        <pc:sldMkLst>
          <pc:docMk/>
          <pc:sldMk cId="1077392097" sldId="265"/>
        </pc:sldMkLst>
        <pc:spChg chg="add del">
          <ac:chgData name="Joseph, Tyler" userId="d95ade4d-0576-43d0-bb19-3f7a19f59750" providerId="ADAL" clId="{D0D52112-171E-45A1-9297-478C767F8E69}" dt="2025-04-15T14:14:36.244" v="64" actId="22"/>
          <ac:spMkLst>
            <pc:docMk/>
            <pc:sldMk cId="1077392097" sldId="265"/>
            <ac:spMk id="11" creationId="{D4F68FE5-2BC2-0E14-267E-2CFC9CAEA179}"/>
          </ac:spMkLst>
        </pc:spChg>
        <pc:graphicFrameChg chg="modGraphic">
          <ac:chgData name="Joseph, Tyler" userId="d95ade4d-0576-43d0-bb19-3f7a19f59750" providerId="ADAL" clId="{D0D52112-171E-45A1-9297-478C767F8E69}" dt="2025-04-15T14:13:30.279" v="49" actId="207"/>
          <ac:graphicFrameMkLst>
            <pc:docMk/>
            <pc:sldMk cId="1077392097" sldId="265"/>
            <ac:graphicFrameMk id="9" creationId="{0FD340E2-24A4-8884-1880-E7D4BA51E0E9}"/>
          </ac:graphicFrameMkLst>
        </pc:graphicFrameChg>
      </pc:sldChg>
      <pc:sldChg chg="modSp add mod ord modNotesTx">
        <pc:chgData name="Joseph, Tyler" userId="d95ade4d-0576-43d0-bb19-3f7a19f59750" providerId="ADAL" clId="{D0D52112-171E-45A1-9297-478C767F8E69}" dt="2025-04-15T14:14:45.783" v="67" actId="20577"/>
        <pc:sldMkLst>
          <pc:docMk/>
          <pc:sldMk cId="3608284283" sldId="266"/>
        </pc:sldMkLst>
        <pc:graphicFrameChg chg="modGraphic">
          <ac:chgData name="Joseph, Tyler" userId="d95ade4d-0576-43d0-bb19-3f7a19f59750" providerId="ADAL" clId="{D0D52112-171E-45A1-9297-478C767F8E69}" dt="2025-04-15T14:13:34.269" v="50" actId="207"/>
          <ac:graphicFrameMkLst>
            <pc:docMk/>
            <pc:sldMk cId="3608284283" sldId="266"/>
            <ac:graphicFrameMk id="9" creationId="{3017DD81-AD70-0B68-D08A-C3FE42213DCC}"/>
          </ac:graphicFrameMkLst>
        </pc:graphicFrameChg>
      </pc:sldChg>
      <pc:sldChg chg="addSp modSp add del">
        <pc:chgData name="Joseph, Tyler" userId="d95ade4d-0576-43d0-bb19-3f7a19f59750" providerId="ADAL" clId="{D0D52112-171E-45A1-9297-478C767F8E69}" dt="2025-04-15T14:15:56.068" v="106"/>
        <pc:sldMkLst>
          <pc:docMk/>
          <pc:sldMk cId="3431219976" sldId="267"/>
        </pc:sldMkLst>
        <pc:spChg chg="add mod">
          <ac:chgData name="Joseph, Tyler" userId="d95ade4d-0576-43d0-bb19-3f7a19f59750" providerId="ADAL" clId="{D0D52112-171E-45A1-9297-478C767F8E69}" dt="2025-04-15T14:15:56.068" v="106"/>
          <ac:spMkLst>
            <pc:docMk/>
            <pc:sldMk cId="3431219976" sldId="267"/>
            <ac:spMk id="5" creationId="{B61E68EB-20AF-9B58-6E87-CEED09A2A823}"/>
          </ac:spMkLst>
        </pc:spChg>
        <pc:graphicFrameChg chg="add mod">
          <ac:chgData name="Joseph, Tyler" userId="d95ade4d-0576-43d0-bb19-3f7a19f59750" providerId="ADAL" clId="{D0D52112-171E-45A1-9297-478C767F8E69}" dt="2025-04-15T14:15:56.068" v="106"/>
          <ac:graphicFrameMkLst>
            <pc:docMk/>
            <pc:sldMk cId="3431219976" sldId="267"/>
            <ac:graphicFrameMk id="2" creationId="{25C83CAB-43F6-C960-2239-B5A504E850AA}"/>
          </ac:graphicFrameMkLst>
        </pc:graphicFrameChg>
      </pc:sldChg>
      <pc:sldChg chg="addSp modSp add del mod modTransition">
        <pc:chgData name="Joseph, Tyler" userId="d95ade4d-0576-43d0-bb19-3f7a19f59750" providerId="ADAL" clId="{D0D52112-171E-45A1-9297-478C767F8E69}" dt="2025-04-15T14:15:59.028" v="107"/>
        <pc:sldMkLst>
          <pc:docMk/>
          <pc:sldMk cId="2907302084" sldId="2147483517"/>
        </pc:sldMkLst>
        <pc:spChg chg="add mod">
          <ac:chgData name="Joseph, Tyler" userId="d95ade4d-0576-43d0-bb19-3f7a19f59750" providerId="ADAL" clId="{D0D52112-171E-45A1-9297-478C767F8E69}" dt="2025-04-15T14:15:59.028" v="107"/>
          <ac:spMkLst>
            <pc:docMk/>
            <pc:sldMk cId="2907302084" sldId="2147483517"/>
            <ac:spMk id="4" creationId="{7CDCD4DD-3FB1-57E8-8323-0D16992B3DA8}"/>
          </ac:spMkLst>
        </pc:spChg>
        <pc:spChg chg="mod">
          <ac:chgData name="Joseph, Tyler" userId="d95ade4d-0576-43d0-bb19-3f7a19f59750" providerId="ADAL" clId="{D0D52112-171E-45A1-9297-478C767F8E69}" dt="2025-04-15T14:15:16.179" v="73" actId="207"/>
          <ac:spMkLst>
            <pc:docMk/>
            <pc:sldMk cId="2907302084" sldId="2147483517"/>
            <ac:spMk id="5" creationId="{624468BD-3893-85FF-D0C9-10981A82F992}"/>
          </ac:spMkLst>
        </pc:spChg>
        <pc:spChg chg="mod">
          <ac:chgData name="Joseph, Tyler" userId="d95ade4d-0576-43d0-bb19-3f7a19f59750" providerId="ADAL" clId="{D0D52112-171E-45A1-9297-478C767F8E69}" dt="2025-04-15T14:15:48.211" v="105"/>
          <ac:spMkLst>
            <pc:docMk/>
            <pc:sldMk cId="2907302084" sldId="2147483517"/>
            <ac:spMk id="15" creationId="{C02E8B44-64CD-C610-9B01-0403BDAE2BBA}"/>
          </ac:spMkLst>
        </pc:spChg>
        <pc:spChg chg="mod">
          <ac:chgData name="Joseph, Tyler" userId="d95ade4d-0576-43d0-bb19-3f7a19f59750" providerId="ADAL" clId="{D0D52112-171E-45A1-9297-478C767F8E69}" dt="2025-04-15T14:15:44.200" v="104" actId="207"/>
          <ac:spMkLst>
            <pc:docMk/>
            <pc:sldMk cId="2907302084" sldId="2147483517"/>
            <ac:spMk id="20" creationId="{733D136E-A338-06C6-F145-81DCE26117E0}"/>
          </ac:spMkLst>
        </pc:spChg>
        <pc:spChg chg="mod">
          <ac:chgData name="Joseph, Tyler" userId="d95ade4d-0576-43d0-bb19-3f7a19f59750" providerId="ADAL" clId="{D0D52112-171E-45A1-9297-478C767F8E69}" dt="2025-04-15T14:15:40.409" v="101" actId="207"/>
          <ac:spMkLst>
            <pc:docMk/>
            <pc:sldMk cId="2907302084" sldId="2147483517"/>
            <ac:spMk id="21" creationId="{9C72715D-11F1-7428-ECEB-F91EA1FA1363}"/>
          </ac:spMkLst>
        </pc:spChg>
        <pc:spChg chg="mod">
          <ac:chgData name="Joseph, Tyler" userId="d95ade4d-0576-43d0-bb19-3f7a19f59750" providerId="ADAL" clId="{D0D52112-171E-45A1-9297-478C767F8E69}" dt="2025-04-15T14:15:25.158" v="76" actId="207"/>
          <ac:spMkLst>
            <pc:docMk/>
            <pc:sldMk cId="2907302084" sldId="2147483517"/>
            <ac:spMk id="30" creationId="{89E742C6-78F0-842A-5D2D-7DD9E09C8EF8}"/>
          </ac:spMkLst>
        </pc:spChg>
        <pc:spChg chg="mod">
          <ac:chgData name="Joseph, Tyler" userId="d95ade4d-0576-43d0-bb19-3f7a19f59750" providerId="ADAL" clId="{D0D52112-171E-45A1-9297-478C767F8E69}" dt="2025-04-15T14:15:29.382" v="80"/>
          <ac:spMkLst>
            <pc:docMk/>
            <pc:sldMk cId="2907302084" sldId="2147483517"/>
            <ac:spMk id="32" creationId="{BBD0D042-F6C1-25F1-EE4B-61EBC1770492}"/>
          </ac:spMkLst>
        </pc:spChg>
        <pc:spChg chg="mod">
          <ac:chgData name="Joseph, Tyler" userId="d95ade4d-0576-43d0-bb19-3f7a19f59750" providerId="ADAL" clId="{D0D52112-171E-45A1-9297-478C767F8E69}" dt="2025-04-15T14:15:30.619" v="95" actId="207"/>
          <ac:spMkLst>
            <pc:docMk/>
            <pc:sldMk cId="2907302084" sldId="2147483517"/>
            <ac:spMk id="33" creationId="{6434BDA5-BC6C-DD3D-0F07-5F8F19E4EA49}"/>
          </ac:spMkLst>
        </pc:spChg>
        <pc:spChg chg="mod">
          <ac:chgData name="Joseph, Tyler" userId="d95ade4d-0576-43d0-bb19-3f7a19f59750" providerId="ADAL" clId="{D0D52112-171E-45A1-9297-478C767F8E69}" dt="2025-04-15T14:15:29.388" v="86"/>
          <ac:spMkLst>
            <pc:docMk/>
            <pc:sldMk cId="2907302084" sldId="2147483517"/>
            <ac:spMk id="34" creationId="{EC27666E-E044-919E-F7E2-8FD468E4C207}"/>
          </ac:spMkLst>
        </pc:spChg>
        <pc:spChg chg="mod">
          <ac:chgData name="Joseph, Tyler" userId="d95ade4d-0576-43d0-bb19-3f7a19f59750" providerId="ADAL" clId="{D0D52112-171E-45A1-9297-478C767F8E69}" dt="2025-04-15T14:15:36.078" v="98" actId="207"/>
          <ac:spMkLst>
            <pc:docMk/>
            <pc:sldMk cId="2907302084" sldId="2147483517"/>
            <ac:spMk id="35" creationId="{983077F0-9E8C-AA5A-0F1D-D1F77CE0168A}"/>
          </ac:spMkLst>
        </pc:spChg>
        <pc:graphicFrameChg chg="add mod">
          <ac:chgData name="Joseph, Tyler" userId="d95ade4d-0576-43d0-bb19-3f7a19f59750" providerId="ADAL" clId="{D0D52112-171E-45A1-9297-478C767F8E69}" dt="2025-04-15T14:15:59.028" v="107"/>
          <ac:graphicFrameMkLst>
            <pc:docMk/>
            <pc:sldMk cId="2907302084" sldId="2147483517"/>
            <ac:graphicFrameMk id="2" creationId="{EA909BEB-BE15-DDDA-DE0A-38C94198E3C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14DACE-D3DC-4E01-B9B2-92E25A61C02E}" type="datetimeFigureOut">
              <a:rPr lang="en-US" smtClean="0"/>
              <a:t>4/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06E8C0-649C-4D38-90F5-9EBED4F69465}" type="slidenum">
              <a:rPr lang="en-US" smtClean="0"/>
              <a:t>‹#›</a:t>
            </a:fld>
            <a:endParaRPr lang="en-US"/>
          </a:p>
        </p:txBody>
      </p:sp>
    </p:spTree>
    <p:extLst>
      <p:ext uri="{BB962C8B-B14F-4D97-AF65-F5344CB8AC3E}">
        <p14:creationId xmlns:p14="http://schemas.microsoft.com/office/powerpoint/2010/main" val="944332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5"/>
          </p:nvPr>
        </p:nvSpPr>
        <p:spPr/>
        <p:txBody>
          <a:bodyPr/>
          <a:lstStyle/>
          <a:p>
            <a:r>
              <a:rPr lang="en-US">
                <a:latin typeface="Arial" panose="020B0604020202020204" pitchFamily="34" charset="0"/>
              </a:rPr>
              <a:t>Notes view: </a:t>
            </a:r>
            <a:fld id="{128CEAFE-FA94-43E5-B0FF-D47E1CCDD1B4}" type="slidenum">
              <a:rPr lang="en-US" smtClean="0">
                <a:latin typeface="Arial" panose="020B0604020202020204" pitchFamily="34" charset="0"/>
              </a:rPr>
              <a:pPr/>
              <a:t>1</a:t>
            </a:fld>
            <a:endParaRPr lang="en-US">
              <a:latin typeface="Arial" panose="020B0604020202020204" pitchFamily="34" charset="0"/>
            </a:endParaRPr>
          </a:p>
        </p:txBody>
      </p:sp>
    </p:spTree>
    <p:extLst>
      <p:ext uri="{BB962C8B-B14F-4D97-AF65-F5344CB8AC3E}">
        <p14:creationId xmlns:p14="http://schemas.microsoft.com/office/powerpoint/2010/main" val="2516959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ith that, there are a few key items to note for Tranche-3 around restrictions, eligibility, and the rules of adjudication</a:t>
            </a:r>
          </a:p>
          <a:p>
            <a:pPr marL="171450" indent="-171450">
              <a:buFont typeface="Arial" panose="020B0604020202020204" pitchFamily="34" charset="0"/>
              <a:buChar char="•"/>
            </a:pPr>
            <a:r>
              <a:rPr lang="en-US"/>
              <a:t>The first is around project area restrictions, which we touched on earlier, but just want to make sure these are clear</a:t>
            </a:r>
          </a:p>
          <a:p>
            <a:pPr marL="171450" indent="-171450">
              <a:buFont typeface="Arial" panose="020B0604020202020204" pitchFamily="34" charset="0"/>
              <a:buChar char="•"/>
            </a:pPr>
            <a:r>
              <a:rPr lang="en-US"/>
              <a:t>In Tranche-3, all remaining eligible </a:t>
            </a:r>
            <a:r>
              <a:rPr lang="en-US" err="1"/>
              <a:t>CBGs</a:t>
            </a:r>
            <a:r>
              <a:rPr lang="en-US"/>
              <a:t> – that is </a:t>
            </a:r>
            <a:r>
              <a:rPr lang="en-US" err="1"/>
              <a:t>CBGs</a:t>
            </a:r>
            <a:r>
              <a:rPr lang="en-US"/>
              <a:t> that were not selected in T1, T2, or the PAE outreach process – will be available for bidding. This is true for all applicants, regardless of your T1 and T2 results</a:t>
            </a:r>
          </a:p>
          <a:p>
            <a:pPr marL="171450" indent="-171450">
              <a:buFont typeface="Arial" panose="020B0604020202020204" pitchFamily="34" charset="0"/>
              <a:buChar char="•"/>
            </a:pPr>
            <a:r>
              <a:rPr lang="en-US"/>
              <a:t>In Tranche-3, a bid's project area may only include a single </a:t>
            </a:r>
            <a:r>
              <a:rPr lang="en-US" err="1"/>
              <a:t>CBG</a:t>
            </a:r>
            <a:r>
              <a:rPr lang="en-US"/>
              <a:t> – so it is one </a:t>
            </a:r>
            <a:r>
              <a:rPr lang="en-US" err="1"/>
              <a:t>CBG</a:t>
            </a:r>
            <a:r>
              <a:rPr lang="en-US"/>
              <a:t> per bid. The only exceptions are the "donut" </a:t>
            </a:r>
            <a:r>
              <a:rPr lang="en-US" err="1"/>
              <a:t>CBGs</a:t>
            </a:r>
            <a:r>
              <a:rPr lang="en-US"/>
              <a:t>, where one </a:t>
            </a:r>
            <a:r>
              <a:rPr lang="en-US" err="1"/>
              <a:t>CBG</a:t>
            </a:r>
            <a:r>
              <a:rPr lang="en-US"/>
              <a:t> sits inside of another. In those cases, you would bid on both the outer and inner </a:t>
            </a:r>
            <a:r>
              <a:rPr lang="en-US" err="1"/>
              <a:t>CBG</a:t>
            </a:r>
            <a:r>
              <a:rPr lang="en-US"/>
              <a:t> together</a:t>
            </a:r>
          </a:p>
          <a:p>
            <a:pPr marL="171450" indent="-171450">
              <a:buFont typeface="Arial" panose="020B0604020202020204" pitchFamily="34" charset="0"/>
              <a:buChar char="•"/>
            </a:pPr>
            <a:r>
              <a:rPr lang="en-US"/>
              <a:t>And similar to previous Tranches, you will be able to bid on a particular </a:t>
            </a:r>
            <a:r>
              <a:rPr lang="en-US" err="1"/>
              <a:t>CBG</a:t>
            </a:r>
            <a:r>
              <a:rPr lang="en-US"/>
              <a:t> up to 3x</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For the adjudication of Tranche-3, there will only be one rule in effect – which is that preliminary selections will have the highest score of the highest technology type or are the sole bidder on their project area.</a:t>
            </a:r>
          </a:p>
          <a:p>
            <a:pPr marL="171450" indent="-171450">
              <a:buFont typeface="Arial" panose="020B0604020202020204" pitchFamily="34" charset="0"/>
              <a:buChar char="•"/>
            </a:pPr>
            <a:r>
              <a:rPr lang="en-US"/>
              <a:t>We will look at some examples of this in just a moment</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And finally, to reiterate, in Tranche-3, all technology type categories – so Priority, Non-priority, and Alternative – are eligible for preliminary selection</a:t>
            </a:r>
          </a:p>
          <a:p>
            <a:pPr marL="171450" indent="-171450">
              <a:buFont typeface="Arial" panose="020B0604020202020204" pitchFamily="34" charset="0"/>
              <a:buChar char="•"/>
            </a:pPr>
            <a:r>
              <a:rPr lang="en-US"/>
              <a:t>NEXT</a:t>
            </a:r>
          </a:p>
        </p:txBody>
      </p:sp>
      <p:sp>
        <p:nvSpPr>
          <p:cNvPr id="4" name="Slide Number Placeholder 3"/>
          <p:cNvSpPr>
            <a:spLocks noGrp="1"/>
          </p:cNvSpPr>
          <p:nvPr>
            <p:ph type="sldNum" sz="quarter" idx="5"/>
          </p:nvPr>
        </p:nvSpPr>
        <p:spPr/>
        <p:txBody>
          <a:bodyPr/>
          <a:lstStyle/>
          <a:p>
            <a:fld id="{D206E8C0-649C-4D38-90F5-9EBED4F69465}" type="slidenum">
              <a:rPr lang="en-US" smtClean="0"/>
              <a:t>10</a:t>
            </a:fld>
            <a:endParaRPr lang="en-US"/>
          </a:p>
        </p:txBody>
      </p:sp>
    </p:spTree>
    <p:extLst>
      <p:ext uri="{BB962C8B-B14F-4D97-AF65-F5344CB8AC3E}">
        <p14:creationId xmlns:p14="http://schemas.microsoft.com/office/powerpoint/2010/main" val="3017215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Finally, I wanted to end today by providing a few examples of deconfliction in Tranche-3</a:t>
            </a:r>
          </a:p>
          <a:p>
            <a:pPr marL="171450" indent="-171450">
              <a:buFont typeface="Arial" panose="020B0604020202020204" pitchFamily="34" charset="0"/>
              <a:buChar char="•"/>
            </a:pPr>
            <a:r>
              <a:rPr lang="en-US"/>
              <a:t>As we just mentioned, there is only one rule of adjudication in Tranche-3, which says that preliminary selections will be the highest score of the highest technology type or are the sole bidder on their project area</a:t>
            </a:r>
          </a:p>
          <a:p>
            <a:pPr marL="171450" indent="-171450">
              <a:buFont typeface="Arial" panose="020B0604020202020204" pitchFamily="34" charset="0"/>
              <a:buChar char="•"/>
            </a:pPr>
            <a:r>
              <a:rPr lang="en-US"/>
              <a:t>So we have three scenarios</a:t>
            </a:r>
          </a:p>
          <a:p>
            <a:pPr marL="171450" indent="-171450">
              <a:buFont typeface="Arial" panose="020B0604020202020204" pitchFamily="34" charset="0"/>
              <a:buChar char="•"/>
            </a:pPr>
            <a:r>
              <a:rPr lang="en-US"/>
              <a:t>In each scenario, we have five overlapping bids – A, B, C, D, and E, and for each bid we list their technology type and their score</a:t>
            </a:r>
          </a:p>
          <a:p>
            <a:pPr marL="171450" indent="-171450">
              <a:buFont typeface="Arial" panose="020B0604020202020204" pitchFamily="34" charset="0"/>
              <a:buChar char="•"/>
            </a:pPr>
            <a:r>
              <a:rPr lang="en-US"/>
              <a:t>In Scenario 1, we have a mix of all 3 technology types: priority, nonpriority, and alternative</a:t>
            </a:r>
          </a:p>
          <a:p>
            <a:pPr marL="171450" indent="-171450">
              <a:buFont typeface="Arial" panose="020B0604020202020204" pitchFamily="34" charset="0"/>
              <a:buChar char="•"/>
            </a:pPr>
            <a:r>
              <a:rPr lang="en-US"/>
              <a:t>In Scenario 2, we have a mix of non priority and alternative</a:t>
            </a:r>
          </a:p>
          <a:p>
            <a:pPr marL="171450" indent="-171450">
              <a:buFont typeface="Arial" panose="020B0604020202020204" pitchFamily="34" charset="0"/>
              <a:buChar char="•"/>
            </a:pPr>
            <a:r>
              <a:rPr lang="en-US"/>
              <a:t>And in Scenario 3, we only have alternative bids</a:t>
            </a:r>
          </a:p>
          <a:p>
            <a:pPr marL="171450" indent="-171450">
              <a:buFont typeface="Arial" panose="020B0604020202020204" pitchFamily="34" charset="0"/>
              <a:buChar char="•"/>
            </a:pPr>
            <a:r>
              <a:rPr lang="en-US"/>
              <a:t>In each scenario, we have ordered the bids to reflect the highest score of the highest tech type, meaning that the highest ranked bid will be the one that is preliminarily selected</a:t>
            </a:r>
          </a:p>
          <a:p>
            <a:pPr marL="171450" indent="-171450">
              <a:buFont typeface="Arial" panose="020B0604020202020204" pitchFamily="34" charset="0"/>
              <a:buChar char="•"/>
            </a:pPr>
            <a:r>
              <a:rPr lang="en-US"/>
              <a:t>So in scenario 1, bid A wins because, of the bids it overlaps with, it has the highest score (70) of the highest tech type (priority). Even though there are higher scoring bids, they are of a lower technology type, and therefore won't be selected</a:t>
            </a:r>
          </a:p>
          <a:p>
            <a:pPr marL="171450" indent="-171450">
              <a:buFont typeface="Arial" panose="020B0604020202020204" pitchFamily="34" charset="0"/>
              <a:buChar char="•"/>
            </a:pPr>
            <a:r>
              <a:rPr lang="en-US"/>
              <a:t>In Scenario 2, where there are a mix of non priority and alternative technology bids, we see the same thing. Bid A will be selected because it is the highest scoring bid of the highest tech type of the bids it overlaps with</a:t>
            </a:r>
          </a:p>
          <a:p>
            <a:pPr marL="171450" indent="-171450">
              <a:buFont typeface="Arial" panose="020B0604020202020204" pitchFamily="34" charset="0"/>
              <a:buChar char="•"/>
            </a:pPr>
            <a:r>
              <a:rPr lang="en-US"/>
              <a:t>Finally, in T3, all bids have the same technology type, which in this case is alternative. In this scenario, the highest score would win</a:t>
            </a:r>
          </a:p>
          <a:p>
            <a:pPr marL="171450" indent="-171450">
              <a:buFont typeface="Arial" panose="020B0604020202020204" pitchFamily="34" charset="0"/>
              <a:buChar char="•"/>
            </a:pPr>
            <a:r>
              <a:rPr lang="en-US"/>
              <a:t>One last thing to call attention to – so this means that all </a:t>
            </a:r>
            <a:r>
              <a:rPr lang="en-US" err="1"/>
              <a:t>CBGs</a:t>
            </a:r>
            <a:r>
              <a:rPr lang="en-US"/>
              <a:t> that receive a bid in Tranche-3 will be awarded</a:t>
            </a:r>
          </a:p>
          <a:p>
            <a:pPr marL="171450" indent="-171450">
              <a:buFont typeface="Arial" panose="020B0604020202020204" pitchFamily="34" charset="0"/>
              <a:buChar char="•"/>
            </a:pPr>
            <a:r>
              <a:rPr lang="en-US"/>
              <a:t>That concludes our review of Tranche-3 and now I will cover this week's FAQ</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5080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49D7DA-21FD-E475-9326-ABA3B50038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7AA20DE-964C-E177-E007-2468ACAACC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274835-6861-F63A-9B7B-486166728409}"/>
              </a:ext>
            </a:extLst>
          </p:cNvPr>
          <p:cNvSpPr>
            <a:spLocks noGrp="1"/>
          </p:cNvSpPr>
          <p:nvPr>
            <p:ph type="body" idx="1"/>
          </p:nvPr>
        </p:nvSpPr>
        <p:spPr/>
        <p:txBody>
          <a:bodyPr/>
          <a:lstStyle/>
          <a:p>
            <a:pPr marL="171450" indent="-171450">
              <a:buFontTx/>
              <a:buChar char="-"/>
            </a:pPr>
            <a:endParaRPr lang="en-US" dirty="0"/>
          </a:p>
        </p:txBody>
      </p:sp>
      <p:sp>
        <p:nvSpPr>
          <p:cNvPr id="4" name="Slide Number Placeholder 3">
            <a:extLst>
              <a:ext uri="{FF2B5EF4-FFF2-40B4-BE49-F238E27FC236}">
                <a16:creationId xmlns:a16="http://schemas.microsoft.com/office/drawing/2014/main" id="{608A89C5-9FB1-2A21-8240-2F0081ECA85E}"/>
              </a:ext>
            </a:extLst>
          </p:cNvPr>
          <p:cNvSpPr>
            <a:spLocks noGrp="1"/>
          </p:cNvSpPr>
          <p:nvPr>
            <p:ph type="sldNum" sz="quarter" idx="5"/>
          </p:nvPr>
        </p:nvSpPr>
        <p:spPr/>
        <p:txBody>
          <a:bodyPr/>
          <a:lstStyle/>
          <a:p>
            <a:fld id="{D206E8C0-649C-4D38-90F5-9EBED4F69465}" type="slidenum">
              <a:rPr lang="en-US" smtClean="0"/>
              <a:t>12</a:t>
            </a:fld>
            <a:endParaRPr lang="en-US"/>
          </a:p>
        </p:txBody>
      </p:sp>
    </p:spTree>
    <p:extLst>
      <p:ext uri="{BB962C8B-B14F-4D97-AF65-F5344CB8AC3E}">
        <p14:creationId xmlns:p14="http://schemas.microsoft.com/office/powerpoint/2010/main" val="1284107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01BDE-C8F1-A34E-BDC9-D89353561F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178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buFont typeface="Arial" panose="020B0604020202020204" pitchFamily="34" charset="0"/>
              <a:buChar char="•"/>
            </a:pPr>
            <a:r>
              <a:rPr lang="en-US" sz="1800">
                <a:effectLst/>
                <a:latin typeface="Calibri" panose="020F0502020204030204" pitchFamily="34" charset="0"/>
              </a:rPr>
              <a:t>Hi everyone, good morning</a:t>
            </a:r>
          </a:p>
          <a:p>
            <a:pPr rtl="0" fontAlgn="ctr">
              <a:buFont typeface="Arial" panose="020B0604020202020204" pitchFamily="34" charset="0"/>
              <a:buChar char="•"/>
            </a:pPr>
            <a:r>
              <a:rPr lang="en-US" sz="1800">
                <a:effectLst/>
                <a:latin typeface="Calibri" panose="020F0502020204030204" pitchFamily="34" charset="0"/>
              </a:rPr>
              <a:t>We are moving right along through our approach to achieving 100% coverage, which is the period we have been referring to as negotiations. </a:t>
            </a:r>
          </a:p>
          <a:p>
            <a:pPr rtl="0" fontAlgn="ctr">
              <a:buFont typeface="Arial" panose="020B0604020202020204" pitchFamily="34" charset="0"/>
              <a:buChar char="•"/>
            </a:pPr>
            <a:r>
              <a:rPr lang="en-US" sz="1800">
                <a:effectLst/>
                <a:latin typeface="Calibri" panose="020F0502020204030204" pitchFamily="34" charset="0"/>
              </a:rPr>
              <a:t>If you recall, during negotiations, there are three key milestones, which you can see at the top of the page here. </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rPr>
              <a:t>This starts with closing out Tranche-2 and then reaching out directly to ISPs who are the sole bidders on partial award eligible </a:t>
            </a:r>
            <a:r>
              <a:rPr lang="en-US" sz="1800" err="1">
                <a:effectLst/>
                <a:latin typeface="Calibri" panose="020F0502020204030204" pitchFamily="34" charset="0"/>
              </a:rPr>
              <a:t>CBGs</a:t>
            </a:r>
            <a:r>
              <a:rPr lang="en-US" sz="1800">
                <a:effectLst/>
                <a:latin typeface="Calibri" panose="020F0502020204030204" pitchFamily="34" charset="0"/>
              </a:rPr>
              <a:t> to offer prorated subsidies for those </a:t>
            </a:r>
            <a:r>
              <a:rPr lang="en-US" sz="1800" err="1">
                <a:effectLst/>
                <a:latin typeface="Calibri" panose="020F0502020204030204" pitchFamily="34" charset="0"/>
              </a:rPr>
              <a:t>CBGs</a:t>
            </a:r>
            <a:endParaRPr lang="en-US" sz="1800">
              <a:effectLst/>
              <a:latin typeface="Calibri" panose="020F050202020403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rPr>
              <a:t>The partial award eligible process concluded last night, so we are currently in the interim period between the conclusion of the partial award eligible process and the opening of the Tranche-3 application window</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800">
                <a:effectLst/>
                <a:latin typeface="Calibri" panose="020F0502020204030204" pitchFamily="34" charset="0"/>
              </a:rPr>
              <a:t>As it is the next step and is tentatively scheduled to open some time next week, I wanted to spend our time today reviewing the rules of Tranche-3</a:t>
            </a:r>
          </a:p>
          <a:p>
            <a:pPr rtl="0" fontAlgn="ctr">
              <a:buFont typeface="Arial" panose="020B0604020202020204" pitchFamily="34" charset="0"/>
              <a:buNone/>
            </a:pPr>
            <a:r>
              <a:rPr lang="en-US" sz="1800">
                <a:effectLst/>
                <a:latin typeface="Calibri" panose="020F0502020204030204" pitchFamily="34" charset="0"/>
              </a:rPr>
              <a:t>- NEXT</a:t>
            </a:r>
          </a:p>
          <a:p>
            <a:endParaRPr lang="en-US"/>
          </a:p>
        </p:txBody>
      </p:sp>
      <p:sp>
        <p:nvSpPr>
          <p:cNvPr id="4" name="Slide Number Placeholder 3"/>
          <p:cNvSpPr>
            <a:spLocks noGrp="1"/>
          </p:cNvSpPr>
          <p:nvPr>
            <p:ph type="sldNum" sz="quarter" idx="5"/>
          </p:nvPr>
        </p:nvSpPr>
        <p:spPr/>
        <p:txBody>
          <a:bodyPr/>
          <a:lstStyle/>
          <a:p>
            <a:fld id="{D206E8C0-649C-4D38-90F5-9EBED4F69465}" type="slidenum">
              <a:rPr lang="en-US" smtClean="0"/>
              <a:t>2</a:t>
            </a:fld>
            <a:endParaRPr lang="en-US"/>
          </a:p>
        </p:txBody>
      </p:sp>
    </p:spTree>
    <p:extLst>
      <p:ext uri="{BB962C8B-B14F-4D97-AF65-F5344CB8AC3E}">
        <p14:creationId xmlns:p14="http://schemas.microsoft.com/office/powerpoint/2010/main" val="2615373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For today's review, the goal is to answer 3 key questions:</a:t>
            </a:r>
          </a:p>
          <a:p>
            <a:pPr marL="171450" indent="-171450">
              <a:buFontTx/>
              <a:buChar char="-"/>
            </a:pPr>
            <a:r>
              <a:rPr lang="en-US" dirty="0"/>
              <a:t>What are the application submission rules for Tranche-3?</a:t>
            </a:r>
          </a:p>
          <a:p>
            <a:pPr marL="171450" indent="-171450">
              <a:buFontTx/>
              <a:buChar char="-"/>
            </a:pPr>
            <a:r>
              <a:rPr lang="en-US" dirty="0"/>
              <a:t>What </a:t>
            </a:r>
            <a:r>
              <a:rPr lang="en-US" dirty="0" err="1"/>
              <a:t>CBGs</a:t>
            </a:r>
            <a:r>
              <a:rPr lang="en-US" dirty="0"/>
              <a:t> are available for bidding in Tranche-3?</a:t>
            </a:r>
          </a:p>
          <a:p>
            <a:pPr marL="171450" indent="-171450">
              <a:buFontTx/>
              <a:buChar char="-"/>
            </a:pPr>
            <a:r>
              <a:rPr lang="en-US" dirty="0"/>
              <a:t>And how will applications be preliminarily selected in Tranche-3?</a:t>
            </a:r>
          </a:p>
          <a:p>
            <a:pPr marL="171450" indent="-171450">
              <a:buFontTx/>
              <a:buChar char="-"/>
            </a:pPr>
            <a:r>
              <a:rPr lang="en-US" dirty="0"/>
              <a:t>NEXT</a:t>
            </a:r>
          </a:p>
        </p:txBody>
      </p:sp>
      <p:sp>
        <p:nvSpPr>
          <p:cNvPr id="4" name="Slide Number Placeholder 3"/>
          <p:cNvSpPr>
            <a:spLocks noGrp="1"/>
          </p:cNvSpPr>
          <p:nvPr>
            <p:ph type="sldNum" sz="quarter" idx="5"/>
          </p:nvPr>
        </p:nvSpPr>
        <p:spPr/>
        <p:txBody>
          <a:bodyPr/>
          <a:lstStyle/>
          <a:p>
            <a:fld id="{D206E8C0-649C-4D38-90F5-9EBED4F69465}" type="slidenum">
              <a:rPr lang="en-US" smtClean="0"/>
              <a:t>3</a:t>
            </a:fld>
            <a:endParaRPr lang="en-US"/>
          </a:p>
        </p:txBody>
      </p:sp>
    </p:spTree>
    <p:extLst>
      <p:ext uri="{BB962C8B-B14F-4D97-AF65-F5344CB8AC3E}">
        <p14:creationId xmlns:p14="http://schemas.microsoft.com/office/powerpoint/2010/main" val="3462348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D428B5-7B8B-DD90-130D-CC34C7BC56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46441B-A494-8636-2D7D-FB779F5FE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F27AF3-061E-2C52-8045-9042771507EC}"/>
              </a:ext>
            </a:extLst>
          </p:cNvPr>
          <p:cNvSpPr>
            <a:spLocks noGrp="1"/>
          </p:cNvSpPr>
          <p:nvPr>
            <p:ph type="body" idx="1"/>
          </p:nvPr>
        </p:nvSpPr>
        <p:spPr/>
        <p:txBody>
          <a:bodyPr/>
          <a:lstStyle/>
          <a:p>
            <a:pPr marL="171450" indent="-171450">
              <a:buFontTx/>
              <a:buChar char="-"/>
            </a:pPr>
            <a:r>
              <a:rPr lang="en-US" dirty="0"/>
              <a:t>So let's start with question 1: what are the application submission rules for Tranche-3?</a:t>
            </a:r>
          </a:p>
          <a:p>
            <a:pPr marL="171450" indent="-171450">
              <a:buFontTx/>
              <a:buChar char="-"/>
            </a:pPr>
            <a:r>
              <a:rPr lang="en-US" dirty="0"/>
              <a:t>NEXT</a:t>
            </a:r>
          </a:p>
        </p:txBody>
      </p:sp>
      <p:sp>
        <p:nvSpPr>
          <p:cNvPr id="4" name="Slide Number Placeholder 3">
            <a:extLst>
              <a:ext uri="{FF2B5EF4-FFF2-40B4-BE49-F238E27FC236}">
                <a16:creationId xmlns:a16="http://schemas.microsoft.com/office/drawing/2014/main" id="{DE8C93BC-D365-6B97-8476-73B3C4AAD8B5}"/>
              </a:ext>
            </a:extLst>
          </p:cNvPr>
          <p:cNvSpPr>
            <a:spLocks noGrp="1"/>
          </p:cNvSpPr>
          <p:nvPr>
            <p:ph type="sldNum" sz="quarter" idx="5"/>
          </p:nvPr>
        </p:nvSpPr>
        <p:spPr/>
        <p:txBody>
          <a:bodyPr/>
          <a:lstStyle/>
          <a:p>
            <a:fld id="{D206E8C0-649C-4D38-90F5-9EBED4F69465}" type="slidenum">
              <a:rPr lang="en-US" smtClean="0"/>
              <a:t>4</a:t>
            </a:fld>
            <a:endParaRPr lang="en-US"/>
          </a:p>
        </p:txBody>
      </p:sp>
    </p:spTree>
    <p:extLst>
      <p:ext uri="{BB962C8B-B14F-4D97-AF65-F5344CB8AC3E}">
        <p14:creationId xmlns:p14="http://schemas.microsoft.com/office/powerpoint/2010/main" val="1676093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324000" lvl="1" indent="-216000">
              <a:buClr>
                <a:srgbClr val="000000"/>
              </a:buClr>
              <a:buFont typeface="Trebuchet MS" panose="020B0603020202020204" pitchFamily="34" charset="0"/>
              <a:buChar char="•"/>
            </a:pPr>
            <a:r>
              <a:rPr lang="en-US" dirty="0">
                <a:latin typeface="Arial" panose="020B0604020202020204" pitchFamily="34" charset="0"/>
              </a:rPr>
              <a:t>When it comes to the rules for submitting an application in Tranche-3, I thought it would be easiest to address them in the form of question and answer</a:t>
            </a:r>
          </a:p>
          <a:p>
            <a:pPr marL="324000" lvl="1" indent="-216000">
              <a:buClr>
                <a:srgbClr val="000000"/>
              </a:buClr>
              <a:buFont typeface="Trebuchet MS" panose="020B0603020202020204" pitchFamily="34" charset="0"/>
              <a:buChar char="•"/>
            </a:pPr>
            <a:r>
              <a:rPr lang="en-US" dirty="0">
                <a:latin typeface="Arial" panose="020B0604020202020204" pitchFamily="34" charset="0"/>
              </a:rPr>
              <a:t>So we will cover the most pressing questions when it comes to submitting an application in Tranche3</a:t>
            </a: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Who can participate?</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All successfully pre-registered providers can participate</a:t>
            </a:r>
            <a:endParaRPr lang="en-US" sz="1800" b="0"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What types of bids are there?</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New bids only – Tranche-3 is a "clean slate"</a:t>
            </a:r>
            <a:endParaRPr lang="en-US" sz="1800" b="0"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What are the possible outcomes for bids?</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Preliminarily Selected or Not Selected (i.e., Closed)</a:t>
            </a: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dirty="0">
                <a:solidFill>
                  <a:schemeClr val="tx1"/>
                </a:solidFill>
                <a:effectLst/>
                <a:latin typeface="+mn-lt"/>
              </a:rPr>
              <a:t>How many </a:t>
            </a:r>
            <a:r>
              <a:rPr lang="en-US" sz="1800" b="1" i="0" u="none" strike="noStrike" dirty="0" err="1">
                <a:solidFill>
                  <a:schemeClr val="tx1"/>
                </a:solidFill>
                <a:effectLst/>
                <a:latin typeface="+mn-lt"/>
              </a:rPr>
              <a:t>CBGs</a:t>
            </a:r>
            <a:r>
              <a:rPr lang="en-US" sz="1800" b="1" i="0" u="none" strike="noStrike" dirty="0">
                <a:solidFill>
                  <a:schemeClr val="tx1"/>
                </a:solidFill>
                <a:effectLst/>
                <a:latin typeface="+mn-lt"/>
              </a:rPr>
              <a:t> can be included in a project area?</a:t>
            </a: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Project areas can only consist of 1 </a:t>
            </a:r>
            <a:r>
              <a:rPr lang="en-US" sz="1800" b="0" i="0" u="none" strike="noStrike" kern="1200" dirty="0" err="1">
                <a:solidFill>
                  <a:srgbClr val="000000"/>
                </a:solidFill>
                <a:effectLst/>
                <a:latin typeface="Arial" panose="020B0604020202020204" pitchFamily="34" charset="0"/>
              </a:rPr>
              <a:t>CBG</a:t>
            </a:r>
            <a:r>
              <a:rPr lang="en-US" sz="1800" b="0" i="0" u="none" strike="noStrike" kern="1200" dirty="0">
                <a:solidFill>
                  <a:srgbClr val="000000"/>
                </a:solidFill>
                <a:effectLst/>
                <a:latin typeface="Arial" panose="020B0604020202020204" pitchFamily="34" charset="0"/>
              </a:rPr>
              <a:t> with the exception of "donut" </a:t>
            </a:r>
            <a:r>
              <a:rPr lang="en-US" sz="1800" b="0" i="0" u="none" strike="noStrike" kern="1200" dirty="0" err="1">
                <a:solidFill>
                  <a:srgbClr val="000000"/>
                </a:solidFill>
                <a:effectLst/>
                <a:latin typeface="Arial" panose="020B0604020202020204" pitchFamily="34" charset="0"/>
              </a:rPr>
              <a:t>CBGs</a:t>
            </a:r>
            <a:r>
              <a:rPr lang="en-US" sz="1800" b="0" i="0" u="none" strike="noStrike" kern="1200" dirty="0">
                <a:solidFill>
                  <a:srgbClr val="000000"/>
                </a:solidFill>
                <a:effectLst/>
                <a:latin typeface="Arial" panose="020B0604020202020204" pitchFamily="34" charset="0"/>
              </a:rPr>
              <a:t>, where a </a:t>
            </a:r>
            <a:r>
              <a:rPr lang="en-US" sz="1800" b="0" i="0" u="none" strike="noStrike" kern="1200" dirty="0" err="1">
                <a:solidFill>
                  <a:srgbClr val="000000"/>
                </a:solidFill>
                <a:effectLst/>
                <a:latin typeface="Arial" panose="020B0604020202020204" pitchFamily="34" charset="0"/>
              </a:rPr>
              <a:t>CBG</a:t>
            </a:r>
            <a:r>
              <a:rPr lang="en-US" sz="1800" b="0" i="0" u="none" strike="noStrike" kern="1200" dirty="0">
                <a:solidFill>
                  <a:srgbClr val="000000"/>
                </a:solidFill>
                <a:effectLst/>
                <a:latin typeface="Arial" panose="020B0604020202020204" pitchFamily="34" charset="0"/>
              </a:rPr>
              <a:t> sits inside of another</a:t>
            </a:r>
          </a:p>
          <a:p>
            <a:pPr marL="486000" marR="0" lvl="1" indent="-324000" algn="l" defTabSz="914400" rtl="0" eaLnBrk="1" fontAlgn="auto" latinLnBrk="0" hangingPunct="1">
              <a:lnSpc>
                <a:spcPct val="100000"/>
              </a:lnSpc>
              <a:spcBef>
                <a:spcPts val="0"/>
              </a:spcBef>
              <a:spcAft>
                <a:spcPts val="0"/>
              </a:spcAft>
              <a:buClr>
                <a:srgbClr val="000000"/>
              </a:buClr>
              <a:buSzTx/>
              <a:buFont typeface="Trebuchet MS" panose="020B0603020202020204" pitchFamily="34" charset="0"/>
              <a:buChar char="•"/>
              <a:tabLst/>
              <a:defRPr/>
            </a:pPr>
            <a:r>
              <a:rPr lang="en-US" sz="1800" b="1" i="0" u="none" strike="noStrike" dirty="0">
                <a:solidFill>
                  <a:schemeClr val="tx1"/>
                </a:solidFill>
                <a:effectLst/>
                <a:latin typeface="+mn-lt"/>
              </a:rPr>
              <a:t>How many times can an applicant bid on a particular </a:t>
            </a:r>
            <a:r>
              <a:rPr lang="en-US" sz="1800" b="1" i="0" u="none" strike="noStrike" dirty="0" err="1">
                <a:solidFill>
                  <a:schemeClr val="tx1"/>
                </a:solidFill>
                <a:effectLst/>
                <a:latin typeface="+mn-lt"/>
              </a:rPr>
              <a:t>CBG</a:t>
            </a:r>
            <a:r>
              <a:rPr lang="en-US" sz="1800" b="1" i="0" u="none" strike="noStrike" dirty="0">
                <a:solidFill>
                  <a:schemeClr val="tx1"/>
                </a:solidFill>
                <a:effectLst/>
                <a:latin typeface="+mn-lt"/>
              </a:rPr>
              <a:t>?</a:t>
            </a:r>
          </a:p>
          <a:p>
            <a:pPr marL="486000" marR="0" lvl="1" indent="-324000" algn="l" defTabSz="914400" rtl="0" eaLnBrk="1" fontAlgn="auto" latinLnBrk="0" hangingPunct="1">
              <a:lnSpc>
                <a:spcPct val="100000"/>
              </a:lnSpc>
              <a:spcBef>
                <a:spcPts val="0"/>
              </a:spcBef>
              <a:spcAft>
                <a:spcPts val="0"/>
              </a:spcAft>
              <a:buClr>
                <a:srgbClr val="000000"/>
              </a:buClr>
              <a:buSzTx/>
              <a:buFont typeface="Trebuchet MS" panose="020B0603020202020204" pitchFamily="34" charset="0"/>
              <a:buChar char="•"/>
              <a:tabLst/>
              <a:defRPr/>
            </a:pPr>
            <a:r>
              <a:rPr lang="en-US" sz="1800" b="0" i="0" u="none" strike="noStrike" dirty="0">
                <a:solidFill>
                  <a:srgbClr val="000000"/>
                </a:solidFill>
                <a:effectLst/>
                <a:latin typeface="+mn-lt"/>
              </a:rPr>
              <a:t>An applicant can bid on a particular </a:t>
            </a:r>
            <a:r>
              <a:rPr lang="en-US" sz="1800" b="0" i="0" u="none" strike="noStrike" dirty="0" err="1">
                <a:solidFill>
                  <a:srgbClr val="000000"/>
                </a:solidFill>
                <a:effectLst/>
                <a:latin typeface="+mn-lt"/>
              </a:rPr>
              <a:t>CBG</a:t>
            </a:r>
            <a:r>
              <a:rPr lang="en-US" sz="1800" b="0" i="0" u="none" strike="noStrike" dirty="0">
                <a:solidFill>
                  <a:srgbClr val="000000"/>
                </a:solidFill>
                <a:effectLst/>
                <a:latin typeface="+mn-lt"/>
              </a:rPr>
              <a:t> up to 3 times</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Are there any subsidy thresholds?</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There are no subsidy thresholds in Tranche-3; however, the subsidy request is still the largest portion of a bid's score</a:t>
            </a:r>
            <a:endParaRPr lang="en-US" sz="1800" b="0"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Which technology types are eligible for selection?</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All technology types are eligible for selection, including Alternative technology</a:t>
            </a:r>
            <a:endParaRPr lang="en-US" sz="1800" b="0"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How many points are available?</a:t>
            </a:r>
            <a:endParaRPr lang="en-US" sz="1800" b="1"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There are 95 points available as the zero-bid criteria will not be scored</a:t>
            </a:r>
            <a:endParaRPr lang="en-US" sz="1800" b="0" i="0" u="none" strike="noStrike" dirty="0">
              <a:solidFill>
                <a:srgbClr val="000000"/>
              </a:solidFill>
              <a:effectLst/>
              <a:latin typeface="Arial" panose="020B0604020202020204" pitchFamily="34" charset="0"/>
            </a:endParaRPr>
          </a:p>
          <a:p>
            <a:pPr marL="486000" lvl="1" indent="-324000" algn="l" defTabSz="914400" rtl="0" eaLnBrk="1" fontAlgn="auto" latinLnBrk="0" hangingPunct="1">
              <a:buClr>
                <a:srgbClr val="000000"/>
              </a:buClr>
              <a:buFont typeface="Trebuchet MS" panose="020B0603020202020204" pitchFamily="34" charset="0"/>
              <a:buChar char="•"/>
            </a:pPr>
            <a:r>
              <a:rPr lang="en-US" sz="1800" b="1" i="0" u="none" strike="noStrike" kern="1200" dirty="0">
                <a:solidFill>
                  <a:srgbClr val="000000"/>
                </a:solidFill>
                <a:effectLst/>
                <a:latin typeface="Arial" panose="020B0604020202020204" pitchFamily="34" charset="0"/>
              </a:rPr>
              <a:t>How long is the application window, and when will it open?</a:t>
            </a:r>
            <a:endParaRPr lang="en-US" sz="1800" b="1" i="0" u="none" strike="noStrike" dirty="0">
              <a:solidFill>
                <a:srgbClr val="000000"/>
              </a:solidFill>
              <a:effectLst/>
              <a:latin typeface="Arial" panose="020B0604020202020204" pitchFamily="34" charset="0"/>
            </a:endParaRPr>
          </a:p>
          <a:p>
            <a:pPr marL="486000" marR="0" lvl="1" indent="-324000" algn="l" defTabSz="914400" rtl="0" eaLnBrk="1" fontAlgn="auto" latinLnBrk="0" hangingPunct="1">
              <a:buClr>
                <a:srgbClr val="000000"/>
              </a:buClr>
              <a:buFont typeface="Trebuchet MS" panose="020B0603020202020204" pitchFamily="34" charset="0"/>
              <a:buChar char="•"/>
            </a:pPr>
            <a:r>
              <a:rPr lang="en-US" sz="1800" b="0" i="0" u="none" strike="noStrike" kern="1200" dirty="0">
                <a:solidFill>
                  <a:srgbClr val="000000"/>
                </a:solidFill>
                <a:effectLst/>
                <a:latin typeface="Arial" panose="020B0604020202020204" pitchFamily="34" charset="0"/>
              </a:rPr>
              <a:t>7-day application window tentatively scheduled to open next week</a:t>
            </a:r>
            <a:endParaRPr lang="en-US" sz="1800" b="0" i="0" u="none" strike="noStrike" dirty="0">
              <a:solidFill>
                <a:srgbClr val="000000"/>
              </a:solidFill>
              <a:effectLst/>
              <a:latin typeface="Arial" panose="020B0604020202020204" pitchFamily="34" charset="0"/>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srgbClr val="6E6F73"/>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49566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02242F-7150-51F7-B62A-B240FFEDDD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39AA9F-187A-10C4-3C3B-4E3311BCFB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3096F5-30C8-47C9-E209-731C574BFDC9}"/>
              </a:ext>
            </a:extLst>
          </p:cNvPr>
          <p:cNvSpPr>
            <a:spLocks noGrp="1"/>
          </p:cNvSpPr>
          <p:nvPr>
            <p:ph type="body" idx="1"/>
          </p:nvPr>
        </p:nvSpPr>
        <p:spPr/>
        <p:txBody>
          <a:bodyPr/>
          <a:lstStyle/>
          <a:p>
            <a:pPr marL="171450" indent="-171450">
              <a:buFontTx/>
              <a:buChar char="-"/>
            </a:pPr>
            <a:r>
              <a:rPr lang="en-US" dirty="0"/>
              <a:t>Next question to address is what </a:t>
            </a:r>
            <a:r>
              <a:rPr lang="en-US" dirty="0" err="1"/>
              <a:t>CBGs</a:t>
            </a:r>
            <a:r>
              <a:rPr lang="en-US" dirty="0"/>
              <a:t> are available for bidding in Tranche-3? </a:t>
            </a:r>
          </a:p>
          <a:p>
            <a:pPr marL="171450" indent="-171450">
              <a:buFontTx/>
              <a:buChar char="-"/>
            </a:pPr>
            <a:r>
              <a:rPr lang="en-US" dirty="0"/>
              <a:t>NEXT</a:t>
            </a:r>
          </a:p>
        </p:txBody>
      </p:sp>
      <p:sp>
        <p:nvSpPr>
          <p:cNvPr id="4" name="Slide Number Placeholder 3">
            <a:extLst>
              <a:ext uri="{FF2B5EF4-FFF2-40B4-BE49-F238E27FC236}">
                <a16:creationId xmlns:a16="http://schemas.microsoft.com/office/drawing/2014/main" id="{569019AD-BB04-B00B-444C-6FDAB6E30A73}"/>
              </a:ext>
            </a:extLst>
          </p:cNvPr>
          <p:cNvSpPr>
            <a:spLocks noGrp="1"/>
          </p:cNvSpPr>
          <p:nvPr>
            <p:ph type="sldNum" sz="quarter" idx="5"/>
          </p:nvPr>
        </p:nvSpPr>
        <p:spPr/>
        <p:txBody>
          <a:bodyPr/>
          <a:lstStyle/>
          <a:p>
            <a:fld id="{D206E8C0-649C-4D38-90F5-9EBED4F69465}" type="slidenum">
              <a:rPr lang="en-US" smtClean="0"/>
              <a:t>6</a:t>
            </a:fld>
            <a:endParaRPr lang="en-US"/>
          </a:p>
        </p:txBody>
      </p:sp>
    </p:spTree>
    <p:extLst>
      <p:ext uri="{BB962C8B-B14F-4D97-AF65-F5344CB8AC3E}">
        <p14:creationId xmlns:p14="http://schemas.microsoft.com/office/powerpoint/2010/main" val="736913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rtl="0" fontAlgn="ctr">
              <a:buFont typeface="Arial" panose="020B0604020202020204" pitchFamily="34" charset="0"/>
              <a:buChar char="•"/>
            </a:pPr>
            <a:r>
              <a:rPr lang="en-US" sz="1200" dirty="0">
                <a:effectLst/>
                <a:latin typeface="Calibri" panose="020F0502020204030204" pitchFamily="34" charset="0"/>
              </a:rPr>
              <a:t>So, as I am sure you are all aware, the results of Tranche-2 have been posted in the applicant portal and the </a:t>
            </a:r>
            <a:r>
              <a:rPr lang="en-US" sz="1200" dirty="0" err="1">
                <a:effectLst/>
                <a:latin typeface="Calibri" panose="020F0502020204030204" pitchFamily="34" charset="0"/>
              </a:rPr>
              <a:t>CBG</a:t>
            </a:r>
            <a:r>
              <a:rPr lang="en-US" sz="1200" dirty="0">
                <a:effectLst/>
                <a:latin typeface="Calibri" panose="020F0502020204030204" pitchFamily="34" charset="0"/>
              </a:rPr>
              <a:t> claims map, which displays the current status of each </a:t>
            </a:r>
            <a:r>
              <a:rPr lang="en-US" sz="1200" dirty="0" err="1">
                <a:effectLst/>
                <a:latin typeface="Calibri" panose="020F0502020204030204" pitchFamily="34" charset="0"/>
              </a:rPr>
              <a:t>CBG</a:t>
            </a:r>
            <a:r>
              <a:rPr lang="en-US" sz="1200" dirty="0">
                <a:effectLst/>
                <a:latin typeface="Calibri" panose="020F0502020204030204" pitchFamily="34" charset="0"/>
              </a:rPr>
              <a:t> in the State.</a:t>
            </a:r>
          </a:p>
          <a:p>
            <a:pPr rtl="0" fontAlgn="ctr">
              <a:buFont typeface="Arial" panose="020B0604020202020204" pitchFamily="34" charset="0"/>
              <a:buChar char="•"/>
            </a:pPr>
            <a:r>
              <a:rPr lang="en-US" sz="1200" dirty="0">
                <a:effectLst/>
                <a:latin typeface="Calibri" panose="020F0502020204030204" pitchFamily="34" charset="0"/>
              </a:rPr>
              <a:t>Currently, </a:t>
            </a:r>
            <a:r>
              <a:rPr lang="en-US" sz="1200" dirty="0" err="1">
                <a:effectLst/>
                <a:latin typeface="Calibri" panose="020F0502020204030204" pitchFamily="34" charset="0"/>
              </a:rPr>
              <a:t>CBGs</a:t>
            </a:r>
            <a:r>
              <a:rPr lang="en-US" sz="1200" dirty="0">
                <a:effectLst/>
                <a:latin typeface="Calibri" panose="020F0502020204030204" pitchFamily="34" charset="0"/>
              </a:rPr>
              <a:t> have one of four possible statuses:</a:t>
            </a:r>
          </a:p>
          <a:p>
            <a:pPr marL="742950" lvl="1" indent="-285750" rtl="0" fontAlgn="ctr">
              <a:buFont typeface="Courier New" panose="02070309020205020404" pitchFamily="49" charset="0"/>
              <a:buChar char="o"/>
            </a:pPr>
            <a:r>
              <a:rPr lang="en-US" sz="1200" dirty="0">
                <a:effectLst/>
                <a:latin typeface="Calibri" panose="020F0502020204030204" pitchFamily="34" charset="0"/>
              </a:rPr>
              <a:t>So you have </a:t>
            </a:r>
            <a:r>
              <a:rPr lang="en-US" sz="1200" dirty="0" err="1">
                <a:effectLst/>
                <a:latin typeface="Calibri" panose="020F0502020204030204" pitchFamily="34" charset="0"/>
              </a:rPr>
              <a:t>CBGs</a:t>
            </a:r>
            <a:r>
              <a:rPr lang="en-US" sz="1200" dirty="0">
                <a:effectLst/>
                <a:latin typeface="Calibri" panose="020F0502020204030204" pitchFamily="34" charset="0"/>
              </a:rPr>
              <a:t> that were preliminarily selected in Tranche-1 or Tranche-2, which means they are no longer available for bidding in Tranche-3</a:t>
            </a:r>
            <a:endParaRPr lang="en-US" sz="1100" dirty="0">
              <a:effectLst/>
              <a:latin typeface="Calibri" panose="020F0502020204030204" pitchFamily="34" charset="0"/>
            </a:endParaRPr>
          </a:p>
          <a:p>
            <a:pPr marL="742950" lvl="1" indent="-285750" rtl="0" fontAlgn="ctr">
              <a:buFont typeface="Courier New" panose="02070309020205020404" pitchFamily="49" charset="0"/>
              <a:buChar char="o"/>
            </a:pPr>
            <a:r>
              <a:rPr lang="en-US" sz="1200" dirty="0">
                <a:effectLst/>
                <a:latin typeface="Calibri" panose="020F0502020204030204" pitchFamily="34" charset="0"/>
              </a:rPr>
              <a:t>Available partial award eligible </a:t>
            </a:r>
            <a:r>
              <a:rPr lang="en-US" sz="1200" dirty="0" err="1">
                <a:effectLst/>
                <a:latin typeface="Calibri" panose="020F0502020204030204" pitchFamily="34" charset="0"/>
              </a:rPr>
              <a:t>CBGs</a:t>
            </a:r>
            <a:r>
              <a:rPr lang="en-US" sz="1200" dirty="0">
                <a:effectLst/>
                <a:latin typeface="Calibri" panose="020F0502020204030204" pitchFamily="34" charset="0"/>
              </a:rPr>
              <a:t>, which were offered at a prorated subsidy to their sole bidders through the partial award eligible process</a:t>
            </a:r>
            <a:endParaRPr lang="en-US" sz="1100" dirty="0">
              <a:effectLst/>
              <a:latin typeface="Calibri" panose="020F0502020204030204" pitchFamily="34" charset="0"/>
            </a:endParaRPr>
          </a:p>
          <a:p>
            <a:pPr marL="742950" lvl="1" indent="-285750" rtl="0" fontAlgn="ctr">
              <a:buFont typeface="Courier New" panose="02070309020205020404" pitchFamily="49" charset="0"/>
              <a:buChar char="o"/>
            </a:pPr>
            <a:r>
              <a:rPr lang="en-US" sz="1200" dirty="0">
                <a:effectLst/>
                <a:latin typeface="Calibri" panose="020F0502020204030204" pitchFamily="34" charset="0"/>
              </a:rPr>
              <a:t>Available </a:t>
            </a:r>
            <a:r>
              <a:rPr lang="en-US" sz="1200" dirty="0" err="1">
                <a:effectLst/>
                <a:latin typeface="Calibri" panose="020F0502020204030204" pitchFamily="34" charset="0"/>
              </a:rPr>
              <a:t>CBGs</a:t>
            </a:r>
            <a:r>
              <a:rPr lang="en-US" sz="1200" dirty="0">
                <a:effectLst/>
                <a:latin typeface="Calibri" panose="020F0502020204030204" pitchFamily="34" charset="0"/>
              </a:rPr>
              <a:t>, which are those that will be available for Tranche-3</a:t>
            </a:r>
            <a:endParaRPr lang="en-US" sz="1100" dirty="0">
              <a:effectLst/>
              <a:latin typeface="Calibri" panose="020F0502020204030204" pitchFamily="34" charset="0"/>
            </a:endParaRPr>
          </a:p>
          <a:p>
            <a:pPr marL="742950" lvl="1" indent="-285750" rtl="0" fontAlgn="ctr">
              <a:buFont typeface="Courier New" panose="02070309020205020404" pitchFamily="49" charset="0"/>
              <a:buChar char="o"/>
            </a:pPr>
            <a:r>
              <a:rPr lang="en-US" sz="1200" dirty="0">
                <a:effectLst/>
                <a:latin typeface="Calibri" panose="020F0502020204030204" pitchFamily="34" charset="0"/>
              </a:rPr>
              <a:t>And Ineligible </a:t>
            </a:r>
            <a:r>
              <a:rPr lang="en-US" sz="1200" dirty="0" err="1">
                <a:effectLst/>
                <a:latin typeface="Calibri" panose="020F0502020204030204" pitchFamily="34" charset="0"/>
              </a:rPr>
              <a:t>CBGs</a:t>
            </a:r>
            <a:r>
              <a:rPr lang="en-US" sz="1200" dirty="0">
                <a:effectLst/>
                <a:latin typeface="Calibri" panose="020F0502020204030204" pitchFamily="34" charset="0"/>
              </a:rPr>
              <a:t>, which are those that contain 100% served locations and are therefore unavailable for bidding</a:t>
            </a:r>
          </a:p>
          <a:p>
            <a:pPr marL="171450" marR="0" lvl="0" indent="-171450" algn="l" defTabSz="914400" rtl="0" eaLnBrk="1" fontAlgn="ctr" latinLnBrk="0" hangingPunct="1">
              <a:lnSpc>
                <a:spcPct val="100000"/>
              </a:lnSpc>
              <a:spcBef>
                <a:spcPts val="0"/>
              </a:spcBef>
              <a:spcAft>
                <a:spcPts val="0"/>
              </a:spcAft>
              <a:buClrTx/>
              <a:buSzTx/>
              <a:buFontTx/>
              <a:buChar char="-"/>
              <a:tabLst/>
              <a:defRPr/>
            </a:pPr>
            <a:r>
              <a:rPr lang="en-US" sz="1200" dirty="0">
                <a:effectLst/>
                <a:latin typeface="Calibri" panose="020F0502020204030204" pitchFamily="34" charset="0"/>
              </a:rPr>
              <a:t>However, this map will be updated once more prior to Tranche-3 to reflect the results of the Partial Award Eligible process, which concluded yesterday, as well as any selections from Tranche-1 or Tranche-2 that have been rescinded</a:t>
            </a:r>
          </a:p>
          <a:p>
            <a:pPr marL="171450" marR="0" lvl="0" indent="-171450" algn="l" defTabSz="914400" rtl="0" eaLnBrk="1" fontAlgn="ctr" latinLnBrk="0" hangingPunct="1">
              <a:lnSpc>
                <a:spcPct val="100000"/>
              </a:lnSpc>
              <a:spcBef>
                <a:spcPts val="0"/>
              </a:spcBef>
              <a:spcAft>
                <a:spcPts val="0"/>
              </a:spcAft>
              <a:buClrTx/>
              <a:buSzTx/>
              <a:buFontTx/>
              <a:buChar char="-"/>
              <a:tabLst/>
              <a:defRPr/>
            </a:pPr>
            <a:r>
              <a:rPr lang="en-US" sz="1200" dirty="0">
                <a:effectLst/>
                <a:latin typeface="Calibri" panose="020F0502020204030204" pitchFamily="34" charset="0"/>
              </a:rPr>
              <a:t>What that means is that all </a:t>
            </a:r>
            <a:r>
              <a:rPr lang="en-US" sz="1200" dirty="0" err="1">
                <a:effectLst/>
                <a:latin typeface="Calibri" panose="020F0502020204030204" pitchFamily="34" charset="0"/>
              </a:rPr>
              <a:t>CBGs</a:t>
            </a:r>
            <a:r>
              <a:rPr lang="en-US" sz="1200" dirty="0">
                <a:effectLst/>
                <a:latin typeface="Calibri" panose="020F0502020204030204" pitchFamily="34" charset="0"/>
              </a:rPr>
              <a:t> currently labelled as "available partial award eligible"  - so the ones - will either be shown as "available" or "preliminarily selected", and it is possible that </a:t>
            </a:r>
            <a:r>
              <a:rPr lang="en-US" sz="1200" dirty="0" err="1">
                <a:effectLst/>
                <a:latin typeface="Calibri" panose="020F0502020204030204" pitchFamily="34" charset="0"/>
              </a:rPr>
              <a:t>CBGs</a:t>
            </a:r>
            <a:r>
              <a:rPr lang="en-US" sz="1200" dirty="0">
                <a:effectLst/>
                <a:latin typeface="Calibri" panose="020F0502020204030204" pitchFamily="34" charset="0"/>
              </a:rPr>
              <a:t> previously shown as "Selected" will now be "available" if they belonged to </a:t>
            </a:r>
            <a:r>
              <a:rPr lang="en-US" sz="1200">
                <a:effectLst/>
                <a:latin typeface="Calibri" panose="020F0502020204030204" pitchFamily="34" charset="0"/>
              </a:rPr>
              <a:t>a rescinded bid</a:t>
            </a:r>
            <a:endParaRPr lang="en-US" sz="1200" dirty="0">
              <a:effectLst/>
              <a:latin typeface="Calibri" panose="020F0502020204030204" pitchFamily="34" charset="0"/>
            </a:endParaRPr>
          </a:p>
          <a:p>
            <a:pPr marL="171450" marR="0" lvl="0" indent="-171450" algn="l" defTabSz="914400" rtl="0" eaLnBrk="1" fontAlgn="ctr" latinLnBrk="0" hangingPunct="1">
              <a:lnSpc>
                <a:spcPct val="100000"/>
              </a:lnSpc>
              <a:spcBef>
                <a:spcPts val="0"/>
              </a:spcBef>
              <a:spcAft>
                <a:spcPts val="0"/>
              </a:spcAft>
              <a:buClrTx/>
              <a:buSzTx/>
              <a:buFontTx/>
              <a:buChar char="-"/>
              <a:tabLst/>
              <a:defRPr/>
            </a:pPr>
            <a:r>
              <a:rPr lang="en-US" sz="1200" dirty="0">
                <a:effectLst/>
                <a:latin typeface="Calibri" panose="020F0502020204030204" pitchFamily="34" charset="0"/>
              </a:rPr>
              <a:t>NEXT</a:t>
            </a:r>
          </a:p>
          <a:p>
            <a:pPr marL="0" lvl="0" indent="0" rtl="0" fontAlgn="ctr">
              <a:buFont typeface="Courier New" panose="02070309020205020404" pitchFamily="49" charset="0"/>
              <a:buNone/>
            </a:pPr>
            <a:endParaRPr lang="en-US" sz="1200" dirty="0">
              <a:effectLst/>
              <a:latin typeface="Calibri" panose="020F0502020204030204" pitchFamily="34" charset="0"/>
            </a:endParaRPr>
          </a:p>
          <a:p>
            <a:pPr rtl="0" fontAlgn="ctr">
              <a:buFont typeface="Arial" panose="020B0604020202020204" pitchFamily="34" charset="0"/>
              <a:buChar char="•"/>
            </a:pPr>
            <a:endParaRPr lang="en-US" sz="1200" dirty="0">
              <a:effectLst/>
              <a:latin typeface="Calibri" panose="020F0502020204030204" pitchFamily="34" charset="0"/>
            </a:endParaRPr>
          </a:p>
          <a:p>
            <a:pPr rtl="0" fontAlgn="ctr">
              <a:buFont typeface="Arial" panose="020B0604020202020204" pitchFamily="34" charset="0"/>
              <a:buChar char="•"/>
            </a:pPr>
            <a:endParaRPr lang="en-US" sz="1200" dirty="0">
              <a:effectLst/>
              <a:latin typeface="Calibri" panose="020F0502020204030204" pitchFamily="34" charset="0"/>
            </a:endParaRPr>
          </a:p>
          <a:p>
            <a:pPr rtl="0" fontAlgn="ctr">
              <a:buFont typeface="Arial" panose="020B0604020202020204" pitchFamily="34" charset="0"/>
              <a:buChar char="•"/>
            </a:pPr>
            <a:endParaRPr lang="en-US" sz="1200" dirty="0">
              <a:effectLst/>
              <a:latin typeface="Calibri" panose="020F0502020204030204" pitchFamily="34" charset="0"/>
            </a:endParaRPr>
          </a:p>
          <a:p>
            <a:pPr rtl="0" fontAlgn="ctr">
              <a:buFont typeface="Arial" panose="020B0604020202020204" pitchFamily="34" charset="0"/>
              <a:buChar char="•"/>
            </a:pPr>
            <a:endParaRPr lang="en-US" sz="1200" dirty="0">
              <a:effectLst/>
              <a:latin typeface="Calibri" panose="020F0502020204030204" pitchFamily="34" charset="0"/>
            </a:endParaRPr>
          </a:p>
          <a:p>
            <a:pPr marL="457200" lvl="1" indent="0" rtl="0" fontAlgn="ctr">
              <a:buFont typeface="Courier New" panose="02070309020205020404" pitchFamily="49" charset="0"/>
              <a:buNone/>
            </a:pPr>
            <a:endParaRPr lang="en-US" sz="1200" dirty="0">
              <a:effectLst/>
              <a:latin typeface="Calibri" panose="020F0502020204030204" pitchFamily="34" charset="0"/>
            </a:endParaRPr>
          </a:p>
          <a:p>
            <a:pPr marL="457200" lvl="1" indent="0" rtl="0" fontAlgn="ctr">
              <a:buFont typeface="Courier New" panose="02070309020205020404" pitchFamily="49" charset="0"/>
              <a:buNone/>
            </a:pPr>
            <a:endParaRPr lang="en-US" sz="110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F26B2E7D-3D94-4DB0-8311-00B35AC213A1}" type="slidenum">
              <a:rPr lang="en-US" smtClean="0"/>
              <a:t>7</a:t>
            </a:fld>
            <a:endParaRPr lang="en-US"/>
          </a:p>
        </p:txBody>
      </p:sp>
    </p:spTree>
    <p:extLst>
      <p:ext uri="{BB962C8B-B14F-4D97-AF65-F5344CB8AC3E}">
        <p14:creationId xmlns:p14="http://schemas.microsoft.com/office/powerpoint/2010/main" val="1599651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52680-8C6A-1B9A-8C86-61AA785C59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A18612-5366-0542-31A2-E6207764BA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E37D7E-8346-1BC5-C3C5-84B7265C60C4}"/>
              </a:ext>
            </a:extLst>
          </p:cNvPr>
          <p:cNvSpPr>
            <a:spLocks noGrp="1"/>
          </p:cNvSpPr>
          <p:nvPr>
            <p:ph type="body" idx="1"/>
          </p:nvPr>
        </p:nvSpPr>
        <p:spPr/>
        <p:txBody>
          <a:bodyPr/>
          <a:lstStyle/>
          <a:p>
            <a:pPr marL="171450" indent="-171450">
              <a:buFontTx/>
              <a:buChar char="-"/>
            </a:pPr>
            <a:r>
              <a:rPr lang="en-US" dirty="0"/>
              <a:t>Now let's address our final questions, which is: how will applications be preliminarily selected in Tranche-3? </a:t>
            </a:r>
          </a:p>
          <a:p>
            <a:pPr marL="171450" indent="-171450">
              <a:buFontTx/>
              <a:buChar char="-"/>
            </a:pPr>
            <a:r>
              <a:rPr lang="en-US" dirty="0"/>
              <a:t>NEXT</a:t>
            </a:r>
          </a:p>
        </p:txBody>
      </p:sp>
      <p:sp>
        <p:nvSpPr>
          <p:cNvPr id="4" name="Slide Number Placeholder 3">
            <a:extLst>
              <a:ext uri="{FF2B5EF4-FFF2-40B4-BE49-F238E27FC236}">
                <a16:creationId xmlns:a16="http://schemas.microsoft.com/office/drawing/2014/main" id="{7B6994BE-CC03-B277-ABA6-60421F366B49}"/>
              </a:ext>
            </a:extLst>
          </p:cNvPr>
          <p:cNvSpPr>
            <a:spLocks noGrp="1"/>
          </p:cNvSpPr>
          <p:nvPr>
            <p:ph type="sldNum" sz="quarter" idx="5"/>
          </p:nvPr>
        </p:nvSpPr>
        <p:spPr/>
        <p:txBody>
          <a:bodyPr/>
          <a:lstStyle/>
          <a:p>
            <a:fld id="{D206E8C0-649C-4D38-90F5-9EBED4F69465}" type="slidenum">
              <a:rPr lang="en-US" smtClean="0"/>
              <a:t>8</a:t>
            </a:fld>
            <a:endParaRPr lang="en-US"/>
          </a:p>
        </p:txBody>
      </p:sp>
    </p:spTree>
    <p:extLst>
      <p:ext uri="{BB962C8B-B14F-4D97-AF65-F5344CB8AC3E}">
        <p14:creationId xmlns:p14="http://schemas.microsoft.com/office/powerpoint/2010/main" val="4015739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So, just as in T1 and T2, applicants will submit bids through the applicant portal in Tranche-3 for a requested subsidy amount to serve a particular project area. </a:t>
            </a:r>
          </a:p>
          <a:p>
            <a:pPr marL="171450" indent="-171450">
              <a:buFont typeface="Arial" panose="020B0604020202020204" pitchFamily="34" charset="0"/>
              <a:buChar char="•"/>
            </a:pPr>
            <a:r>
              <a:rPr lang="en-US"/>
              <a:t>These applications will be then be scored using the scoring rubric, just as they were in T1 and T2, before finally being deconflicted and given an adjudication result</a:t>
            </a:r>
          </a:p>
          <a:p>
            <a:pPr marL="171450" indent="-171450">
              <a:buFont typeface="Arial" panose="020B0604020202020204" pitchFamily="34" charset="0"/>
              <a:buChar char="•"/>
            </a:pPr>
            <a:r>
              <a:rPr lang="en-US"/>
              <a:t>Again, please note that the maximum number of points available in Tranche-3 is 95, as the inclusion of zero bid </a:t>
            </a:r>
            <a:r>
              <a:rPr lang="en-US" err="1"/>
              <a:t>cbg</a:t>
            </a:r>
            <a:r>
              <a:rPr lang="en-US"/>
              <a:t> criteria is no longer relevant and does not need to be scored</a:t>
            </a:r>
          </a:p>
          <a:p>
            <a:pPr marL="171450" indent="-171450">
              <a:buFont typeface="Arial" panose="020B0604020202020204" pitchFamily="34" charset="0"/>
              <a:buChar char="•"/>
            </a:pPr>
            <a:r>
              <a:rPr lang="en-US"/>
              <a:t>NEXT</a:t>
            </a:r>
          </a:p>
        </p:txBody>
      </p:sp>
      <p:sp>
        <p:nvSpPr>
          <p:cNvPr id="4" name="Slide Number Placeholder 3"/>
          <p:cNvSpPr>
            <a:spLocks noGrp="1"/>
          </p:cNvSpPr>
          <p:nvPr>
            <p:ph type="sldNum" sz="quarter" idx="5"/>
          </p:nvPr>
        </p:nvSpPr>
        <p:spPr/>
        <p:txBody>
          <a:bodyPr/>
          <a:lstStyle/>
          <a:p>
            <a:fld id="{D206E8C0-649C-4D38-90F5-9EBED4F69465}" type="slidenum">
              <a:rPr lang="en-US" smtClean="0"/>
              <a:t>9</a:t>
            </a:fld>
            <a:endParaRPr lang="en-US"/>
          </a:p>
        </p:txBody>
      </p:sp>
    </p:spTree>
    <p:extLst>
      <p:ext uri="{BB962C8B-B14F-4D97-AF65-F5344CB8AC3E}">
        <p14:creationId xmlns:p14="http://schemas.microsoft.com/office/powerpoint/2010/main" val="280357124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6.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8.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9.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1.x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2.x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13.x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hemeOverride" Target="../theme/themeOverride1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6.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hemeOverride" Target="../theme/themeOverride17.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18.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hemeOverride" Target="../theme/themeOverride19.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hemeOverride" Target="../theme/themeOverride20.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hemeOverride" Target="../theme/themeOverride21.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hemeOverride" Target="../theme/themeOverride2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hemeOverride" Target="../theme/themeOverride2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hemeOverride" Target="../theme/themeOverride24.xml"/><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hemeOverride" Target="../theme/themeOverride2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hemeOverride" Target="../theme/themeOverride26.xml"/><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5.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hemeOverride" Target="../theme/themeOverride27.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1.x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hemeOverride" Target="../theme/themeOverride29.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hemeOverride" Target="../theme/themeOverride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hemeOverride" Target="../theme/themeOverride3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hemeOverride" Target="../theme/themeOverride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2.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4.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007767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pic>
        <p:nvPicPr>
          <p:cNvPr id="16" name="Picture 15">
            <a:extLst>
              <a:ext uri="{FF2B5EF4-FFF2-40B4-BE49-F238E27FC236}">
                <a16:creationId xmlns:a16="http://schemas.microsoft.com/office/drawing/2014/main" id="{EB84FA7B-BB3A-4400-8381-223973273583}"/>
              </a:ext>
            </a:extLst>
          </p:cNvPr>
          <p:cNvPicPr>
            <a:picLocks noChangeAspect="1"/>
          </p:cNvPicPr>
          <p:nvPr userDrawn="1"/>
        </p:nvPicPr>
        <p:blipFill>
          <a:blip r:embed="rId9"/>
          <a:stretch>
            <a:fillRect/>
          </a:stretch>
        </p:blipFill>
        <p:spPr>
          <a:xfrm>
            <a:off x="9536181" y="5570643"/>
            <a:ext cx="1528693" cy="896833"/>
          </a:xfrm>
          <a:prstGeom prst="rect">
            <a:avLst/>
          </a:prstGeom>
        </p:spPr>
      </p:pic>
    </p:spTree>
    <p:extLst>
      <p:ext uri="{BB962C8B-B14F-4D97-AF65-F5344CB8AC3E}">
        <p14:creationId xmlns:p14="http://schemas.microsoft.com/office/powerpoint/2010/main" val="3050480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CDA7A5-734A-4440-865C-448E07B4B34C}"/>
              </a:ext>
            </a:extLst>
          </p:cNvPr>
          <p:cNvGraphicFramePr>
            <a:graphicFrameLocks noChangeAspect="1"/>
          </p:cNvGraphicFramePr>
          <p:nvPr userDrawn="1">
            <p:custDataLst>
              <p:tags r:id="rId2"/>
            </p:custDataLst>
            <p:extLst>
              <p:ext uri="{D42A27DB-BD31-4B8C-83A1-F6EECF244321}">
                <p14:modId xmlns:p14="http://schemas.microsoft.com/office/powerpoint/2010/main" val="223409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6ACDA7A5-734A-4440-865C-448E07B4B3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541141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358EC2D-857F-4211-8D7D-41AD1B9B844A}"/>
              </a:ext>
            </a:extLst>
          </p:cNvPr>
          <p:cNvGraphicFramePr>
            <a:graphicFrameLocks noChangeAspect="1"/>
          </p:cNvGraphicFramePr>
          <p:nvPr userDrawn="1">
            <p:custDataLst>
              <p:tags r:id="rId2"/>
            </p:custDataLst>
            <p:extLst>
              <p:ext uri="{D42A27DB-BD31-4B8C-83A1-F6EECF244321}">
                <p14:modId xmlns:p14="http://schemas.microsoft.com/office/powerpoint/2010/main" val="2507048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358EC2D-857F-4211-8D7D-41AD1B9B84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630000"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40125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78BA5F8-B7D0-42DA-A36E-E71424DED0AF}"/>
              </a:ext>
            </a:extLst>
          </p:cNvPr>
          <p:cNvGraphicFramePr>
            <a:graphicFrameLocks noChangeAspect="1"/>
          </p:cNvGraphicFramePr>
          <p:nvPr userDrawn="1">
            <p:custDataLst>
              <p:tags r:id="rId2"/>
            </p:custDataLst>
            <p:extLst>
              <p:ext uri="{D42A27DB-BD31-4B8C-83A1-F6EECF244321}">
                <p14:modId xmlns:p14="http://schemas.microsoft.com/office/powerpoint/2010/main" val="355000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678BA5F8-B7D0-42DA-A36E-E71424DED0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rgbClr val="1A5BA7"/>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95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FBA628A-55F1-429E-8ED9-3B7392AA4AA4}"/>
              </a:ext>
            </a:extLst>
          </p:cNvPr>
          <p:cNvGraphicFramePr>
            <a:graphicFrameLocks noChangeAspect="1"/>
          </p:cNvGraphicFramePr>
          <p:nvPr userDrawn="1">
            <p:custDataLst>
              <p:tags r:id="rId1"/>
            </p:custDataLst>
            <p:extLst>
              <p:ext uri="{D42A27DB-BD31-4B8C-83A1-F6EECF244321}">
                <p14:modId xmlns:p14="http://schemas.microsoft.com/office/powerpoint/2010/main" val="298140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5FBA628A-55F1-429E-8ED9-3B7392AA4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396361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218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A5BA7"/>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3657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2CD81A-F4A8-41C3-A748-46E26F397A7C}"/>
              </a:ext>
            </a:extLst>
          </p:cNvPr>
          <p:cNvGraphicFramePr>
            <a:graphicFrameLocks noChangeAspect="1"/>
          </p:cNvGraphicFramePr>
          <p:nvPr userDrawn="1">
            <p:custDataLst>
              <p:tags r:id="rId1"/>
            </p:custDataLst>
            <p:extLst>
              <p:ext uri="{D42A27DB-BD31-4B8C-83A1-F6EECF244321}">
                <p14:modId xmlns:p14="http://schemas.microsoft.com/office/powerpoint/2010/main" val="338583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C82CD81A-F4A8-41C3-A748-46E26F397A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485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E0F0817-3C69-441A-AC5E-EFB3B53A75E8}"/>
              </a:ext>
            </a:extLst>
          </p:cNvPr>
          <p:cNvGraphicFramePr>
            <a:graphicFrameLocks noChangeAspect="1"/>
          </p:cNvGraphicFramePr>
          <p:nvPr userDrawn="1">
            <p:custDataLst>
              <p:tags r:id="rId2"/>
            </p:custDataLst>
            <p:extLst>
              <p:ext uri="{D42A27DB-BD31-4B8C-83A1-F6EECF244321}">
                <p14:modId xmlns:p14="http://schemas.microsoft.com/office/powerpoint/2010/main" val="85102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2E0F0817-3C69-441A-AC5E-EFB3B53A75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505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80D785F-4DFA-47EB-8CA6-4B6FDB90574E}"/>
              </a:ext>
            </a:extLst>
          </p:cNvPr>
          <p:cNvGraphicFramePr>
            <a:graphicFrameLocks noChangeAspect="1"/>
          </p:cNvGraphicFramePr>
          <p:nvPr userDrawn="1">
            <p:custDataLst>
              <p:tags r:id="rId1"/>
            </p:custDataLst>
            <p:extLst>
              <p:ext uri="{D42A27DB-BD31-4B8C-83A1-F6EECF244321}">
                <p14:modId xmlns:p14="http://schemas.microsoft.com/office/powerpoint/2010/main" val="3861882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580D785F-4DFA-47EB-8CA6-4B6FDB9057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18610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96B768F-1B9D-4E7F-AB5B-6D7F4C4ED620}"/>
              </a:ext>
            </a:extLst>
          </p:cNvPr>
          <p:cNvGraphicFramePr>
            <a:graphicFrameLocks noChangeAspect="1"/>
          </p:cNvGraphicFramePr>
          <p:nvPr userDrawn="1">
            <p:custDataLst>
              <p:tags r:id="rId2"/>
            </p:custDataLst>
            <p:extLst>
              <p:ext uri="{D42A27DB-BD31-4B8C-83A1-F6EECF244321}">
                <p14:modId xmlns:p14="http://schemas.microsoft.com/office/powerpoint/2010/main" val="848658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96B768F-1B9D-4E7F-AB5B-6D7F4C4ED6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71803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754A443-EC10-4175-895D-C34ABC927EE7}"/>
              </a:ext>
            </a:extLst>
          </p:cNvPr>
          <p:cNvGraphicFramePr>
            <a:graphicFrameLocks noChangeAspect="1"/>
          </p:cNvGraphicFramePr>
          <p:nvPr userDrawn="1">
            <p:custDataLst>
              <p:tags r:id="rId1"/>
            </p:custDataLst>
            <p:extLst>
              <p:ext uri="{D42A27DB-BD31-4B8C-83A1-F6EECF244321}">
                <p14:modId xmlns:p14="http://schemas.microsoft.com/office/powerpoint/2010/main" val="1363644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A754A443-EC10-4175-895D-C34ABC927E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1A5BA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2374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3D1F182-580F-4E5A-909A-F301DEF6C6A4}"/>
              </a:ext>
            </a:extLst>
          </p:cNvPr>
          <p:cNvGraphicFramePr>
            <a:graphicFrameLocks noChangeAspect="1"/>
          </p:cNvGraphicFramePr>
          <p:nvPr userDrawn="1">
            <p:custDataLst>
              <p:tags r:id="rId1"/>
            </p:custDataLst>
            <p:extLst>
              <p:ext uri="{D42A27DB-BD31-4B8C-83A1-F6EECF244321}">
                <p14:modId xmlns:p14="http://schemas.microsoft.com/office/powerpoint/2010/main" val="858369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9" name="think-cell data - do not delete" hidden="1">
                        <a:extLst>
                          <a:ext uri="{FF2B5EF4-FFF2-40B4-BE49-F238E27FC236}">
                            <a16:creationId xmlns:a16="http://schemas.microsoft.com/office/drawing/2014/main" id="{03D1F182-580F-4E5A-909A-F301DEF6C6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786647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1A5BA7"/>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2910130-5364-4AA3-953F-13C86918F5D9}"/>
              </a:ext>
            </a:extLst>
          </p:cNvPr>
          <p:cNvGraphicFramePr>
            <a:graphicFrameLocks noChangeAspect="1"/>
          </p:cNvGraphicFramePr>
          <p:nvPr userDrawn="1">
            <p:custDataLst>
              <p:tags r:id="rId2"/>
            </p:custDataLst>
            <p:extLst>
              <p:ext uri="{D42A27DB-BD31-4B8C-83A1-F6EECF244321}">
                <p14:modId xmlns:p14="http://schemas.microsoft.com/office/powerpoint/2010/main" val="398174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7" name="think-cell data - do not delete" hidden="1">
                        <a:extLst>
                          <a:ext uri="{FF2B5EF4-FFF2-40B4-BE49-F238E27FC236}">
                            <a16:creationId xmlns:a16="http://schemas.microsoft.com/office/drawing/2014/main" id="{12910130-5364-4AA3-953F-13C86918F5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8847967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E09DC58-AD39-47B0-AB3A-D769CAC326B3}"/>
              </a:ext>
            </a:extLst>
          </p:cNvPr>
          <p:cNvGraphicFramePr>
            <a:graphicFrameLocks noChangeAspect="1"/>
          </p:cNvGraphicFramePr>
          <p:nvPr userDrawn="1">
            <p:custDataLst>
              <p:tags r:id="rId1"/>
            </p:custDataLst>
            <p:extLst>
              <p:ext uri="{D42A27DB-BD31-4B8C-83A1-F6EECF244321}">
                <p14:modId xmlns:p14="http://schemas.microsoft.com/office/powerpoint/2010/main" val="118978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0E09DC58-AD39-47B0-AB3A-D769CAC326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1A5BA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05943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D2E5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452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A5BA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61940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8064C93-0A6F-40CA-9574-9E4003178C9E}"/>
              </a:ext>
            </a:extLst>
          </p:cNvPr>
          <p:cNvGraphicFramePr>
            <a:graphicFrameLocks noChangeAspect="1"/>
          </p:cNvGraphicFramePr>
          <p:nvPr userDrawn="1">
            <p:custDataLst>
              <p:tags r:id="rId2"/>
            </p:custDataLst>
            <p:extLst>
              <p:ext uri="{D42A27DB-BD31-4B8C-83A1-F6EECF244321}">
                <p14:modId xmlns:p14="http://schemas.microsoft.com/office/powerpoint/2010/main" val="3673126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9" name="think-cell data - do not delete" hidden="1">
                        <a:extLst>
                          <a:ext uri="{FF2B5EF4-FFF2-40B4-BE49-F238E27FC236}">
                            <a16:creationId xmlns:a16="http://schemas.microsoft.com/office/drawing/2014/main" id="{48064C93-0A6F-40CA-9574-9E4003178C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4050580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3AACBD-5029-4945-A144-9F0E86D559AB}"/>
              </a:ext>
            </a:extLst>
          </p:cNvPr>
          <p:cNvGraphicFramePr>
            <a:graphicFrameLocks noChangeAspect="1"/>
          </p:cNvGraphicFramePr>
          <p:nvPr userDrawn="1">
            <p:custDataLst>
              <p:tags r:id="rId1"/>
            </p:custDataLst>
            <p:extLst>
              <p:ext uri="{D42A27DB-BD31-4B8C-83A1-F6EECF244321}">
                <p14:modId xmlns:p14="http://schemas.microsoft.com/office/powerpoint/2010/main" val="70989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753AACBD-5029-4945-A144-9F0E86D559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063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1A5BA7"/>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AA18A0-1F45-4E0E-9BA0-98F2950BD706}"/>
              </a:ext>
            </a:extLst>
          </p:cNvPr>
          <p:cNvGraphicFramePr>
            <a:graphicFrameLocks noChangeAspect="1"/>
          </p:cNvGraphicFramePr>
          <p:nvPr userDrawn="1">
            <p:custDataLst>
              <p:tags r:id="rId2"/>
            </p:custDataLst>
            <p:extLst>
              <p:ext uri="{D42A27DB-BD31-4B8C-83A1-F6EECF244321}">
                <p14:modId xmlns:p14="http://schemas.microsoft.com/office/powerpoint/2010/main" val="214678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3" name="think-cell data - do not delete" hidden="1">
                        <a:extLst>
                          <a:ext uri="{FF2B5EF4-FFF2-40B4-BE49-F238E27FC236}">
                            <a16:creationId xmlns:a16="http://schemas.microsoft.com/office/drawing/2014/main" id="{86AA18A0-1F45-4E0E-9BA0-98F2950BD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1097875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567DD0B-23EE-4E57-81D2-CF60130294A7}"/>
              </a:ext>
            </a:extLst>
          </p:cNvPr>
          <p:cNvGraphicFramePr>
            <a:graphicFrameLocks noChangeAspect="1"/>
          </p:cNvGraphicFramePr>
          <p:nvPr userDrawn="1">
            <p:custDataLst>
              <p:tags r:id="rId1"/>
            </p:custDataLst>
            <p:extLst>
              <p:ext uri="{D42A27DB-BD31-4B8C-83A1-F6EECF244321}">
                <p14:modId xmlns:p14="http://schemas.microsoft.com/office/powerpoint/2010/main" val="935766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C567DD0B-23EE-4E57-81D2-CF6013029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980A72C-E960-47BC-AF0F-3925417CF181}"/>
              </a:ext>
            </a:extLst>
          </p:cNvPr>
          <p:cNvSpPr>
            <a:spLocks noGrp="1"/>
          </p:cNvSpPr>
          <p:nvPr>
            <p:ph type="body" sz="quarter" idx="11" hasCustomPrompt="1"/>
          </p:nvPr>
        </p:nvSpPr>
        <p:spPr>
          <a:xfrm>
            <a:off x="5021826" y="1664256"/>
            <a:ext cx="6209072" cy="3323987"/>
          </a:xfrm>
        </p:spPr>
        <p:txBody>
          <a:bodyPr/>
          <a:lstStyle>
            <a:lvl1pPr>
              <a:defRPr/>
            </a:lvl1pPr>
          </a:lstStyle>
          <a:p>
            <a:pPr lvl="0"/>
            <a:r>
              <a:rPr lang="en-US"/>
              <a:t>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545624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54317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1CD4ED79-BA57-4033-89B7-80C384FDCAFD}"/>
              </a:ext>
            </a:extLst>
          </p:cNvPr>
          <p:cNvPicPr>
            <a:picLocks noChangeAspect="1"/>
          </p:cNvPicPr>
          <p:nvPr userDrawn="1"/>
        </p:nvPicPr>
        <p:blipFill>
          <a:blip r:embed="rId5"/>
          <a:stretch>
            <a:fillRect/>
          </a:stretch>
        </p:blipFill>
        <p:spPr>
          <a:xfrm>
            <a:off x="4278924" y="2362985"/>
            <a:ext cx="3634154" cy="2132032"/>
          </a:xfrm>
          <a:prstGeom prst="rect">
            <a:avLst/>
          </a:prstGeom>
        </p:spPr>
      </p:pic>
    </p:spTree>
    <p:extLst>
      <p:ext uri="{BB962C8B-B14F-4D97-AF65-F5344CB8AC3E}">
        <p14:creationId xmlns:p14="http://schemas.microsoft.com/office/powerpoint/2010/main" val="33470441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5264DAB-C821-4819-900D-BEB623B95937}"/>
              </a:ext>
            </a:extLst>
          </p:cNvPr>
          <p:cNvGraphicFramePr>
            <a:graphicFrameLocks noChangeAspect="1"/>
          </p:cNvGraphicFramePr>
          <p:nvPr userDrawn="1">
            <p:custDataLst>
              <p:tags r:id="rId1"/>
            </p:custDataLst>
            <p:extLst>
              <p:ext uri="{D42A27DB-BD31-4B8C-83A1-F6EECF244321}">
                <p14:modId xmlns:p14="http://schemas.microsoft.com/office/powerpoint/2010/main" val="112436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5264DAB-C821-4819-900D-BEB623B959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53168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191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Arial" panose="020B0604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vert="horz"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pic>
        <p:nvPicPr>
          <p:cNvPr id="16" name="Picture 15">
            <a:extLst>
              <a:ext uri="{FF2B5EF4-FFF2-40B4-BE49-F238E27FC236}">
                <a16:creationId xmlns:a16="http://schemas.microsoft.com/office/drawing/2014/main" id="{0773ED30-80C5-469D-A022-E5823542CF9D}"/>
              </a:ext>
            </a:extLst>
          </p:cNvPr>
          <p:cNvPicPr>
            <a:picLocks noChangeAspect="1"/>
          </p:cNvPicPr>
          <p:nvPr userDrawn="1"/>
        </p:nvPicPr>
        <p:blipFill>
          <a:blip r:embed="rId9"/>
          <a:stretch>
            <a:fillRect/>
          </a:stretch>
        </p:blipFill>
        <p:spPr>
          <a:xfrm>
            <a:off x="9536181" y="5570643"/>
            <a:ext cx="1528693" cy="896833"/>
          </a:xfrm>
          <a:prstGeom prst="rect">
            <a:avLst/>
          </a:prstGeom>
        </p:spPr>
      </p:pic>
    </p:spTree>
    <p:extLst>
      <p:ext uri="{BB962C8B-B14F-4D97-AF65-F5344CB8AC3E}">
        <p14:creationId xmlns:p14="http://schemas.microsoft.com/office/powerpoint/2010/main" val="3682337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17CD1E-9836-4DC3-A2D6-76D6130A20AB}"/>
              </a:ext>
            </a:extLst>
          </p:cNvPr>
          <p:cNvGraphicFramePr>
            <a:graphicFrameLocks noChangeAspect="1"/>
          </p:cNvGraphicFramePr>
          <p:nvPr userDrawn="1">
            <p:custDataLst>
              <p:tags r:id="rId1"/>
            </p:custDataLst>
            <p:extLst>
              <p:ext uri="{D42A27DB-BD31-4B8C-83A1-F6EECF244321}">
                <p14:modId xmlns:p14="http://schemas.microsoft.com/office/powerpoint/2010/main" val="327215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7" name="think-cell data - do not delete" hidden="1">
                        <a:extLst>
                          <a:ext uri="{FF2B5EF4-FFF2-40B4-BE49-F238E27FC236}">
                            <a16:creationId xmlns:a16="http://schemas.microsoft.com/office/drawing/2014/main" id="{3317CD1E-9836-4DC3-A2D6-76D6130A20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A5BA7"/>
                </a:solidFill>
              </a:defRPr>
            </a:lvl1pPr>
          </a:lstStyle>
          <a:p>
            <a:r>
              <a:rPr lang="en-US"/>
              <a:t>Click to add title</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2081212"/>
            <a:ext cx="10934700" cy="4079874"/>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2434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8E0D74F-4AD4-4D6B-89F0-588A99442D0C}"/>
              </a:ext>
            </a:extLst>
          </p:cNvPr>
          <p:cNvGraphicFramePr>
            <a:graphicFrameLocks noChangeAspect="1"/>
          </p:cNvGraphicFramePr>
          <p:nvPr userDrawn="1">
            <p:custDataLst>
              <p:tags r:id="rId1"/>
            </p:custDataLst>
            <p:extLst>
              <p:ext uri="{D42A27DB-BD31-4B8C-83A1-F6EECF244321}">
                <p14:modId xmlns:p14="http://schemas.microsoft.com/office/powerpoint/2010/main" val="3874109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D8E0D74F-4AD4-4D6B-89F0-588A99442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12994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9CD0CC2-801F-4DD2-B2FD-072D742F511C}"/>
              </a:ext>
            </a:extLst>
          </p:cNvPr>
          <p:cNvGraphicFramePr>
            <a:graphicFrameLocks noChangeAspect="1"/>
          </p:cNvGraphicFramePr>
          <p:nvPr userDrawn="1">
            <p:custDataLst>
              <p:tags r:id="rId1"/>
            </p:custDataLst>
            <p:extLst>
              <p:ext uri="{D42A27DB-BD31-4B8C-83A1-F6EECF244321}">
                <p14:modId xmlns:p14="http://schemas.microsoft.com/office/powerpoint/2010/main" val="3203406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A9CD0CC2-801F-4DD2-B2FD-072D742F5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A5BA7"/>
                </a:solidFill>
              </a:defRPr>
            </a:lvl1pPr>
          </a:lstStyle>
          <a:p>
            <a:r>
              <a:rPr lang="en-US"/>
              <a:t>Click to add title</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2081212"/>
            <a:ext cx="10934700" cy="4079874"/>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53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C64BCB2-E075-4877-A5A1-5C69582C8B5B}"/>
              </a:ext>
            </a:extLst>
          </p:cNvPr>
          <p:cNvGraphicFramePr>
            <a:graphicFrameLocks noChangeAspect="1"/>
          </p:cNvGraphicFramePr>
          <p:nvPr userDrawn="1">
            <p:custDataLst>
              <p:tags r:id="rId1"/>
            </p:custDataLst>
            <p:extLst>
              <p:ext uri="{D42A27DB-BD31-4B8C-83A1-F6EECF244321}">
                <p14:modId xmlns:p14="http://schemas.microsoft.com/office/powerpoint/2010/main" val="352202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5C64BCB2-E075-4877-A5A1-5C69582C8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02010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92400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1282E4-C304-4F65-8964-B88953219724}"/>
              </a:ext>
            </a:extLst>
          </p:cNvPr>
          <p:cNvGraphicFramePr>
            <a:graphicFrameLocks noChangeAspect="1"/>
          </p:cNvGraphicFramePr>
          <p:nvPr userDrawn="1">
            <p:custDataLst>
              <p:tags r:id="rId1"/>
            </p:custDataLst>
            <p:extLst>
              <p:ext uri="{D42A27DB-BD31-4B8C-83A1-F6EECF244321}">
                <p14:modId xmlns:p14="http://schemas.microsoft.com/office/powerpoint/2010/main" val="234603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811282E4-C304-4F65-8964-B88953219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4701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B7EEDCD-1BA1-4A95-A4B8-DBA4379A88CD}"/>
              </a:ext>
            </a:extLst>
          </p:cNvPr>
          <p:cNvGraphicFramePr>
            <a:graphicFrameLocks noChangeAspect="1"/>
          </p:cNvGraphicFramePr>
          <p:nvPr userDrawn="1">
            <p:custDataLst>
              <p:tags r:id="rId1"/>
            </p:custDataLst>
            <p:extLst>
              <p:ext uri="{D42A27DB-BD31-4B8C-83A1-F6EECF244321}">
                <p14:modId xmlns:p14="http://schemas.microsoft.com/office/powerpoint/2010/main" val="239990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3B7EEDCD-1BA1-4A95-A4B8-DBA4379A88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A5BA7"/>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1A5BA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9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082E18-7BF0-4427-8A62-B93B98AB5687}"/>
              </a:ext>
            </a:extLst>
          </p:cNvPr>
          <p:cNvGraphicFramePr>
            <a:graphicFrameLocks noChangeAspect="1"/>
          </p:cNvGraphicFramePr>
          <p:nvPr userDrawn="1">
            <p:custDataLst>
              <p:tags r:id="rId2"/>
            </p:custDataLst>
            <p:extLst>
              <p:ext uri="{D42A27DB-BD31-4B8C-83A1-F6EECF244321}">
                <p14:modId xmlns:p14="http://schemas.microsoft.com/office/powerpoint/2010/main" val="336629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7082E18-7BF0-4427-8A62-B93B98AB56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5236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23520A-6BE4-438C-9093-419D575DD654}"/>
              </a:ext>
            </a:extLst>
          </p:cNvPr>
          <p:cNvGraphicFramePr>
            <a:graphicFrameLocks noChangeAspect="1"/>
          </p:cNvGraphicFramePr>
          <p:nvPr userDrawn="1">
            <p:custDataLst>
              <p:tags r:id="rId2"/>
            </p:custDataLst>
            <p:extLst>
              <p:ext uri="{D42A27DB-BD31-4B8C-83A1-F6EECF244321}">
                <p14:modId xmlns:p14="http://schemas.microsoft.com/office/powerpoint/2010/main" val="3042058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BE23520A-6BE4-438C-9093-419D575DD6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444205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809427-03CB-4ECA-8C54-F4A2919AB502}"/>
              </a:ext>
            </a:extLst>
          </p:cNvPr>
          <p:cNvGraphicFramePr>
            <a:graphicFrameLocks noChangeAspect="1"/>
          </p:cNvGraphicFramePr>
          <p:nvPr userDrawn="1">
            <p:custDataLst>
              <p:tags r:id="rId2"/>
            </p:custDataLst>
            <p:extLst>
              <p:ext uri="{D42A27DB-BD31-4B8C-83A1-F6EECF244321}">
                <p14:modId xmlns:p14="http://schemas.microsoft.com/office/powerpoint/2010/main" val="305078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40809427-03CB-4ECA-8C54-F4A2919AB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5684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63B1E7F-5A58-4867-AC64-EAC294514FF3}"/>
              </a:ext>
            </a:extLst>
          </p:cNvPr>
          <p:cNvGraphicFramePr>
            <a:graphicFrameLocks noChangeAspect="1"/>
          </p:cNvGraphicFramePr>
          <p:nvPr userDrawn="1">
            <p:custDataLst>
              <p:tags r:id="rId2"/>
            </p:custDataLst>
            <p:extLst>
              <p:ext uri="{D42A27DB-BD31-4B8C-83A1-F6EECF244321}">
                <p14:modId xmlns:p14="http://schemas.microsoft.com/office/powerpoint/2010/main" val="64053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363B1E7F-5A58-4867-AC64-EAC294514F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18311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93E522-D196-48C7-848D-C07840BB3B31}"/>
              </a:ext>
            </a:extLst>
          </p:cNvPr>
          <p:cNvGraphicFramePr>
            <a:graphicFrameLocks noChangeAspect="1"/>
          </p:cNvGraphicFramePr>
          <p:nvPr userDrawn="1">
            <p:custDataLst>
              <p:tags r:id="rId2"/>
            </p:custDataLst>
            <p:extLst>
              <p:ext uri="{D42A27DB-BD31-4B8C-83A1-F6EECF244321}">
                <p14:modId xmlns:p14="http://schemas.microsoft.com/office/powerpoint/2010/main" val="1862940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E093E522-D196-48C7-848D-C07840BB3B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645282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77BE46-38FE-4634-84BE-DA6B5C08220F}"/>
              </a:ext>
            </a:extLst>
          </p:cNvPr>
          <p:cNvGraphicFramePr>
            <a:graphicFrameLocks noChangeAspect="1"/>
          </p:cNvGraphicFramePr>
          <p:nvPr userDrawn="1">
            <p:custDataLst>
              <p:tags r:id="rId1"/>
            </p:custDataLst>
            <p:extLst>
              <p:ext uri="{D42A27DB-BD31-4B8C-83A1-F6EECF244321}">
                <p14:modId xmlns:p14="http://schemas.microsoft.com/office/powerpoint/2010/main" val="21489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0177BE46-38FE-4634-84BE-DA6B5C0822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1A5BA7"/>
                </a:solidFill>
                <a:latin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67144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013BA7-1671-4489-BF20-6DF71E6A1B84}"/>
              </a:ext>
            </a:extLst>
          </p:cNvPr>
          <p:cNvGraphicFramePr>
            <a:graphicFrameLocks noChangeAspect="1"/>
          </p:cNvGraphicFramePr>
          <p:nvPr userDrawn="1">
            <p:custDataLst>
              <p:tags r:id="rId2"/>
            </p:custDataLst>
            <p:extLst>
              <p:ext uri="{D42A27DB-BD31-4B8C-83A1-F6EECF244321}">
                <p14:modId xmlns:p14="http://schemas.microsoft.com/office/powerpoint/2010/main" val="418096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34013BA7-1671-4489-BF20-6DF71E6A1B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2651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61840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A5BA7"/>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92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A481284-5BDC-458E-8CA0-4FC0716BF71B}"/>
              </a:ext>
            </a:extLst>
          </p:cNvPr>
          <p:cNvGraphicFramePr>
            <a:graphicFrameLocks noChangeAspect="1"/>
          </p:cNvGraphicFramePr>
          <p:nvPr userDrawn="1">
            <p:custDataLst>
              <p:tags r:id="rId1"/>
            </p:custDataLst>
            <p:extLst>
              <p:ext uri="{D42A27DB-BD31-4B8C-83A1-F6EECF244321}">
                <p14:modId xmlns:p14="http://schemas.microsoft.com/office/powerpoint/2010/main" val="5276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AA481284-5BDC-458E-8CA0-4FC0716BF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08356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BFD7CFA-77A6-45DF-9CFF-73709C42F15A}"/>
              </a:ext>
            </a:extLst>
          </p:cNvPr>
          <p:cNvGraphicFramePr>
            <a:graphicFrameLocks noChangeAspect="1"/>
          </p:cNvGraphicFramePr>
          <p:nvPr userDrawn="1">
            <p:custDataLst>
              <p:tags r:id="rId2"/>
            </p:custDataLst>
            <p:extLst>
              <p:ext uri="{D42A27DB-BD31-4B8C-83A1-F6EECF244321}">
                <p14:modId xmlns:p14="http://schemas.microsoft.com/office/powerpoint/2010/main" val="329300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ABFD7CFA-77A6-45DF-9CFF-73709C42F1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A5BA7"/>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42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50A355E-39BE-4268-B8D3-B3630E8A94BE}"/>
              </a:ext>
            </a:extLst>
          </p:cNvPr>
          <p:cNvGraphicFramePr>
            <a:graphicFrameLocks noChangeAspect="1"/>
          </p:cNvGraphicFramePr>
          <p:nvPr userDrawn="1">
            <p:custDataLst>
              <p:tags r:id="rId1"/>
            </p:custDataLst>
            <p:extLst>
              <p:ext uri="{D42A27DB-BD31-4B8C-83A1-F6EECF244321}">
                <p14:modId xmlns:p14="http://schemas.microsoft.com/office/powerpoint/2010/main" val="1783382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D50A355E-39BE-4268-B8D3-B3630E8A94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02083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2202B-6C40-444B-99F7-8C195574F0A9}"/>
              </a:ext>
            </a:extLst>
          </p:cNvPr>
          <p:cNvGraphicFramePr>
            <a:graphicFrameLocks noChangeAspect="1"/>
          </p:cNvGraphicFramePr>
          <p:nvPr userDrawn="1">
            <p:custDataLst>
              <p:tags r:id="rId2"/>
            </p:custDataLst>
            <p:extLst>
              <p:ext uri="{D42A27DB-BD31-4B8C-83A1-F6EECF244321}">
                <p14:modId xmlns:p14="http://schemas.microsoft.com/office/powerpoint/2010/main" val="87240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4B82202B-6C40-444B-99F7-8C195574F0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8131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B57E206-B6E1-4D22-9BF8-4FAC24A0A143}"/>
              </a:ext>
            </a:extLst>
          </p:cNvPr>
          <p:cNvGraphicFramePr>
            <a:graphicFrameLocks noChangeAspect="1"/>
          </p:cNvGraphicFramePr>
          <p:nvPr userDrawn="1">
            <p:custDataLst>
              <p:tags r:id="rId1"/>
            </p:custDataLst>
            <p:extLst>
              <p:ext uri="{D42A27DB-BD31-4B8C-83A1-F6EECF244321}">
                <p14:modId xmlns:p14="http://schemas.microsoft.com/office/powerpoint/2010/main" val="8469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7B57E206-B6E1-4D22-9BF8-4FAC24A0A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1A5B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7656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1A5BA7"/>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4F6BAF1-6D8D-4604-9D3A-F7259DE3F0B3}"/>
              </a:ext>
            </a:extLst>
          </p:cNvPr>
          <p:cNvGraphicFramePr>
            <a:graphicFrameLocks noChangeAspect="1"/>
          </p:cNvGraphicFramePr>
          <p:nvPr userDrawn="1">
            <p:custDataLst>
              <p:tags r:id="rId2"/>
            </p:custDataLst>
            <p:extLst>
              <p:ext uri="{D42A27DB-BD31-4B8C-83A1-F6EECF244321}">
                <p14:modId xmlns:p14="http://schemas.microsoft.com/office/powerpoint/2010/main" val="24416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6" name="think-cell data - do not delete" hidden="1">
                        <a:extLst>
                          <a:ext uri="{FF2B5EF4-FFF2-40B4-BE49-F238E27FC236}">
                            <a16:creationId xmlns:a16="http://schemas.microsoft.com/office/drawing/2014/main" id="{D4F6BAF1-6D8D-4604-9D3A-F7259DE3F0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A5BA7"/>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534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038837-BD26-4E1F-9348-503D6CE197E0}"/>
              </a:ext>
            </a:extLst>
          </p:cNvPr>
          <p:cNvGraphicFramePr>
            <a:graphicFrameLocks noChangeAspect="1"/>
          </p:cNvGraphicFramePr>
          <p:nvPr userDrawn="1">
            <p:custDataLst>
              <p:tags r:id="rId1"/>
            </p:custDataLst>
            <p:extLst>
              <p:ext uri="{D42A27DB-BD31-4B8C-83A1-F6EECF244321}">
                <p14:modId xmlns:p14="http://schemas.microsoft.com/office/powerpoint/2010/main" val="332599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6" name="think-cell data - do not delete" hidden="1">
                        <a:extLst>
                          <a:ext uri="{FF2B5EF4-FFF2-40B4-BE49-F238E27FC236}">
                            <a16:creationId xmlns:a16="http://schemas.microsoft.com/office/drawing/2014/main" id="{F4038837-BD26-4E1F-9348-503D6CE197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1A5BA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33478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B7405F-A5CC-4C5A-88C5-44E4443552C5}"/>
              </a:ext>
            </a:extLst>
          </p:cNvPr>
          <p:cNvGraphicFramePr>
            <a:graphicFrameLocks noChangeAspect="1"/>
          </p:cNvGraphicFramePr>
          <p:nvPr userDrawn="1">
            <p:custDataLst>
              <p:tags r:id="rId2"/>
            </p:custDataLst>
            <p:extLst>
              <p:ext uri="{D42A27DB-BD31-4B8C-83A1-F6EECF244321}">
                <p14:modId xmlns:p14="http://schemas.microsoft.com/office/powerpoint/2010/main" val="133870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50B7405F-A5CC-4C5A-88C5-44E4443552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02024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1A5BA7"/>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AE667EF-7E6B-4EEF-8700-1CBA83788122}"/>
              </a:ext>
            </a:extLst>
          </p:cNvPr>
          <p:cNvGraphicFramePr>
            <a:graphicFrameLocks noChangeAspect="1"/>
          </p:cNvGraphicFramePr>
          <p:nvPr userDrawn="1">
            <p:custDataLst>
              <p:tags r:id="rId1"/>
            </p:custDataLst>
            <p:extLst>
              <p:ext uri="{D42A27DB-BD31-4B8C-83A1-F6EECF244321}">
                <p14:modId xmlns:p14="http://schemas.microsoft.com/office/powerpoint/2010/main" val="1244166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8" name="think-cell data - do not delete" hidden="1">
                        <a:extLst>
                          <a:ext uri="{FF2B5EF4-FFF2-40B4-BE49-F238E27FC236}">
                            <a16:creationId xmlns:a16="http://schemas.microsoft.com/office/drawing/2014/main" id="{BAE667EF-7E6B-4EEF-8700-1CBA837881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7131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896E83A-2433-4E68-9C43-00A3D3DAB5BB}"/>
              </a:ext>
            </a:extLst>
          </p:cNvPr>
          <p:cNvGraphicFramePr>
            <a:graphicFrameLocks noChangeAspect="1"/>
          </p:cNvGraphicFramePr>
          <p:nvPr userDrawn="1">
            <p:custDataLst>
              <p:tags r:id="rId1"/>
            </p:custDataLst>
            <p:extLst>
              <p:ext uri="{D42A27DB-BD31-4B8C-83A1-F6EECF244321}">
                <p14:modId xmlns:p14="http://schemas.microsoft.com/office/powerpoint/2010/main" val="2452383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5" name="think-cell data - do not delete" hidden="1">
                        <a:extLst>
                          <a:ext uri="{FF2B5EF4-FFF2-40B4-BE49-F238E27FC236}">
                            <a16:creationId xmlns:a16="http://schemas.microsoft.com/office/drawing/2014/main" id="{4896E83A-2433-4E68-9C43-00A3D3DAB5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1A5BA7"/>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A5BA7"/>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18894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D2E5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3135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A5BA7"/>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2213129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2BB318E-EEEF-421B-B4B6-431A2B5BF06A}"/>
              </a:ext>
            </a:extLst>
          </p:cNvPr>
          <p:cNvGraphicFramePr>
            <a:graphicFrameLocks noChangeAspect="1"/>
          </p:cNvGraphicFramePr>
          <p:nvPr userDrawn="1">
            <p:custDataLst>
              <p:tags r:id="rId1"/>
            </p:custDataLst>
            <p:extLst>
              <p:ext uri="{D42A27DB-BD31-4B8C-83A1-F6EECF244321}">
                <p14:modId xmlns:p14="http://schemas.microsoft.com/office/powerpoint/2010/main" val="3499838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9" name="think-cell data - do not delete" hidden="1">
                        <a:extLst>
                          <a:ext uri="{FF2B5EF4-FFF2-40B4-BE49-F238E27FC236}">
                            <a16:creationId xmlns:a16="http://schemas.microsoft.com/office/drawing/2014/main" id="{A2BB318E-EEEF-421B-B4B6-431A2B5BF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83254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1A5BA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C3EAE9-D72D-4DBE-861A-EA1BA8EA6798}"/>
              </a:ext>
            </a:extLst>
          </p:cNvPr>
          <p:cNvGraphicFramePr>
            <a:graphicFrameLocks noChangeAspect="1"/>
          </p:cNvGraphicFramePr>
          <p:nvPr userDrawn="1">
            <p:custDataLst>
              <p:tags r:id="rId2"/>
            </p:custDataLst>
            <p:extLst>
              <p:ext uri="{D42A27DB-BD31-4B8C-83A1-F6EECF244321}">
                <p14:modId xmlns:p14="http://schemas.microsoft.com/office/powerpoint/2010/main" val="81168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2" name="think-cell data - do not delete" hidden="1">
                        <a:extLst>
                          <a:ext uri="{FF2B5EF4-FFF2-40B4-BE49-F238E27FC236}">
                            <a16:creationId xmlns:a16="http://schemas.microsoft.com/office/drawing/2014/main" id="{8DC3EAE9-D72D-4DBE-861A-EA1BA8EA67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A5BA7"/>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234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1A5BA7"/>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8D9C0E4-294D-4483-9FFB-27D58A489462}"/>
              </a:ext>
            </a:extLst>
          </p:cNvPr>
          <p:cNvGraphicFramePr>
            <a:graphicFrameLocks noChangeAspect="1"/>
          </p:cNvGraphicFramePr>
          <p:nvPr userDrawn="1">
            <p:custDataLst>
              <p:tags r:id="rId2"/>
            </p:custDataLst>
            <p:extLst>
              <p:ext uri="{D42A27DB-BD31-4B8C-83A1-F6EECF244321}">
                <p14:modId xmlns:p14="http://schemas.microsoft.com/office/powerpoint/2010/main" val="89305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2" name="think-cell data - do not delete" hidden="1">
                        <a:extLst>
                          <a:ext uri="{FF2B5EF4-FFF2-40B4-BE49-F238E27FC236}">
                            <a16:creationId xmlns:a16="http://schemas.microsoft.com/office/drawing/2014/main" id="{38D9C0E4-294D-4483-9FFB-27D58A489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76185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8E8FB14-A2EC-46B4-9540-921A65E2F82D}"/>
              </a:ext>
            </a:extLst>
          </p:cNvPr>
          <p:cNvGraphicFramePr>
            <a:graphicFrameLocks noChangeAspect="1"/>
          </p:cNvGraphicFramePr>
          <p:nvPr userDrawn="1">
            <p:custDataLst>
              <p:tags r:id="rId1"/>
            </p:custDataLst>
            <p:extLst>
              <p:ext uri="{D42A27DB-BD31-4B8C-83A1-F6EECF244321}">
                <p14:modId xmlns:p14="http://schemas.microsoft.com/office/powerpoint/2010/main" val="93499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68E8FB14-A2EC-46B4-9540-921A65E2F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939166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CCBA48-CB2E-406F-900E-28CA930D575F}"/>
              </a:ext>
            </a:extLst>
          </p:cNvPr>
          <p:cNvGraphicFramePr>
            <a:graphicFrameLocks noChangeAspect="1"/>
          </p:cNvGraphicFramePr>
          <p:nvPr userDrawn="1">
            <p:custDataLst>
              <p:tags r:id="rId1"/>
            </p:custDataLst>
            <p:extLst>
              <p:ext uri="{D42A27DB-BD31-4B8C-83A1-F6EECF244321}">
                <p14:modId xmlns:p14="http://schemas.microsoft.com/office/powerpoint/2010/main" val="413834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2" name="think-cell data - do not delete" hidden="1">
                        <a:extLst>
                          <a:ext uri="{FF2B5EF4-FFF2-40B4-BE49-F238E27FC236}">
                            <a16:creationId xmlns:a16="http://schemas.microsoft.com/office/drawing/2014/main" id="{74CCBA48-CB2E-406F-900E-28CA930D5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Text Placeholder 4">
            <a:extLst>
              <a:ext uri="{FF2B5EF4-FFF2-40B4-BE49-F238E27FC236}">
                <a16:creationId xmlns:a16="http://schemas.microsoft.com/office/drawing/2014/main" id="{49B611CD-2C50-42B9-BAED-13E0027D59CD}"/>
              </a:ext>
            </a:extLst>
          </p:cNvPr>
          <p:cNvSpPr>
            <a:spLocks noGrp="1"/>
          </p:cNvSpPr>
          <p:nvPr>
            <p:ph type="body" sz="quarter" idx="11" hasCustomPrompt="1"/>
          </p:nvPr>
        </p:nvSpPr>
        <p:spPr>
          <a:xfrm>
            <a:off x="5021826" y="1664256"/>
            <a:ext cx="6209072" cy="3323987"/>
          </a:xfrm>
        </p:spPr>
        <p:txBody>
          <a:bodyPr/>
          <a:lstStyle>
            <a:lvl1pPr>
              <a:defRPr/>
            </a:lvl1pPr>
          </a:lstStyle>
          <a:p>
            <a:pPr lvl="0"/>
            <a:r>
              <a:rPr lang="en-US"/>
              <a:t>Text</a:t>
            </a:r>
          </a:p>
        </p:txBody>
      </p:sp>
      <p:sp>
        <p:nvSpPr>
          <p:cNvPr id="13" name="Title 6">
            <a:extLst>
              <a:ext uri="{FF2B5EF4-FFF2-40B4-BE49-F238E27FC236}">
                <a16:creationId xmlns:a16="http://schemas.microsoft.com/office/drawing/2014/main" id="{5CC28EA9-0211-480F-8A0C-F7FF15710B14}"/>
              </a:ext>
            </a:extLst>
          </p:cNvPr>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14" name="Straight Connector 13">
            <a:extLst>
              <a:ext uri="{FF2B5EF4-FFF2-40B4-BE49-F238E27FC236}">
                <a16:creationId xmlns:a16="http://schemas.microsoft.com/office/drawing/2014/main" id="{975FFB64-2090-40B3-A1D8-916569694D2D}"/>
              </a:ext>
            </a:extLst>
          </p:cNvPr>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432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6622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F3CE1EC0-8B8D-49B8-9569-8189D9E92170}"/>
              </a:ext>
            </a:extLst>
          </p:cNvPr>
          <p:cNvPicPr>
            <a:picLocks noChangeAspect="1"/>
          </p:cNvPicPr>
          <p:nvPr userDrawn="1"/>
        </p:nvPicPr>
        <p:blipFill>
          <a:blip r:embed="rId5"/>
          <a:stretch>
            <a:fillRect/>
          </a:stretch>
        </p:blipFill>
        <p:spPr>
          <a:xfrm>
            <a:off x="4278924" y="2362985"/>
            <a:ext cx="3634154" cy="2132032"/>
          </a:xfrm>
          <a:prstGeom prst="rect">
            <a:avLst/>
          </a:prstGeom>
        </p:spPr>
      </p:pic>
    </p:spTree>
    <p:extLst>
      <p:ext uri="{BB962C8B-B14F-4D97-AF65-F5344CB8AC3E}">
        <p14:creationId xmlns:p14="http://schemas.microsoft.com/office/powerpoint/2010/main" val="2049557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23D3E8-DE9C-4133-B3C4-3BF4467A1DAF}"/>
              </a:ext>
            </a:extLst>
          </p:cNvPr>
          <p:cNvGraphicFramePr>
            <a:graphicFrameLocks noChangeAspect="1"/>
          </p:cNvGraphicFramePr>
          <p:nvPr userDrawn="1">
            <p:custDataLst>
              <p:tags r:id="rId1"/>
            </p:custDataLst>
            <p:extLst>
              <p:ext uri="{D42A27DB-BD31-4B8C-83A1-F6EECF244321}">
                <p14:modId xmlns:p14="http://schemas.microsoft.com/office/powerpoint/2010/main" val="2663443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9" imgH="396" progId="TCLayout.ActiveDocument.1">
                  <p:embed/>
                </p:oleObj>
              </mc:Choice>
              <mc:Fallback>
                <p:oleObj name="think-cell Slide" r:id="rId3" imgW="389" imgH="396" progId="TCLayout.ActiveDocument.1">
                  <p:embed/>
                  <p:pic>
                    <p:nvPicPr>
                      <p:cNvPr id="3" name="think-cell data - do not delete" hidden="1">
                        <a:extLst>
                          <a:ext uri="{FF2B5EF4-FFF2-40B4-BE49-F238E27FC236}">
                            <a16:creationId xmlns:a16="http://schemas.microsoft.com/office/drawing/2014/main" id="{E823D3E8-DE9C-4133-B3C4-3BF4467A1D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296073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355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4037421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1A5BA7"/>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CF0CDD1-AA43-4B95-96AE-157AEDF5618A}"/>
              </a:ext>
            </a:extLst>
          </p:cNvPr>
          <p:cNvGraphicFramePr>
            <a:graphicFrameLocks noChangeAspect="1"/>
          </p:cNvGraphicFramePr>
          <p:nvPr userDrawn="1">
            <p:custDataLst>
              <p:tags r:id="rId2"/>
            </p:custDataLst>
            <p:extLst>
              <p:ext uri="{D42A27DB-BD31-4B8C-83A1-F6EECF244321}">
                <p14:modId xmlns:p14="http://schemas.microsoft.com/office/powerpoint/2010/main" val="1053852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7" name="think-cell data - do not delete" hidden="1">
                        <a:extLst>
                          <a:ext uri="{FF2B5EF4-FFF2-40B4-BE49-F238E27FC236}">
                            <a16:creationId xmlns:a16="http://schemas.microsoft.com/office/drawing/2014/main" id="{3CF0CDD1-AA43-4B95-96AE-157AEDF56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289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9435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endParaRPr>
          </a:p>
        </p:txBody>
      </p:sp>
    </p:spTree>
    <p:extLst>
      <p:ext uri="{BB962C8B-B14F-4D97-AF65-F5344CB8AC3E}">
        <p14:creationId xmlns:p14="http://schemas.microsoft.com/office/powerpoint/2010/main" val="1628998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1A5BA7"/>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0123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35221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0800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3532790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51734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1A5BA7"/>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Arial" panose="020B0604020202020204" pitchFamily="34" charset="0"/>
            </a:endParaRPr>
          </a:p>
        </p:txBody>
      </p:sp>
      <p:sp>
        <p:nvSpPr>
          <p:cNvPr id="11" name="TextBox 10"/>
          <p:cNvSpPr txBox="1"/>
          <p:nvPr userDrawn="1"/>
        </p:nvSpPr>
        <p:spPr>
          <a:xfrm>
            <a:off x="630000" y="907197"/>
            <a:ext cx="3448800" cy="3447288"/>
          </a:xfrm>
          <a:prstGeom prst="rect">
            <a:avLst/>
          </a:prstGeom>
          <a:noFill/>
          <a:ln>
            <a:solidFill>
              <a:srgbClr val="1A5BA7"/>
            </a:solidFill>
          </a:ln>
        </p:spPr>
        <p:txBody>
          <a:bodyPr wrap="square" lIns="612000" tIns="468000" rIns="0" bIns="0" rtlCol="0" anchor="t">
            <a:no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rgbClr val="1A5BA7"/>
                </a:solidFill>
              </a:rPr>
              <a:t>Agenda</a:t>
            </a:r>
          </a:p>
        </p:txBody>
      </p:sp>
    </p:spTree>
    <p:extLst>
      <p:ext uri="{BB962C8B-B14F-4D97-AF65-F5344CB8AC3E}">
        <p14:creationId xmlns:p14="http://schemas.microsoft.com/office/powerpoint/2010/main" val="2421179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41492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1A5BA7"/>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Arial" panose="020B0604020202020204" pitchFamily="34" charset="0"/>
            </a:endParaRPr>
          </a:p>
        </p:txBody>
      </p:sp>
    </p:spTree>
    <p:extLst>
      <p:ext uri="{BB962C8B-B14F-4D97-AF65-F5344CB8AC3E}">
        <p14:creationId xmlns:p14="http://schemas.microsoft.com/office/powerpoint/2010/main" val="126104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47360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Arial" panose="020B0604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1A5BA7"/>
                </a:solidFill>
                <a:latin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1A5BA7"/>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305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4621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3844835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1A5BA7"/>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0282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Arial" panose="020B0604020202020204" pitchFamily="34" charset="0"/>
              <a:sym typeface="Trebuchet MS" panose="020B0603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Arial" panose="020B0604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035571D-5A9E-4EC5-9451-2934D26C337F}"/>
              </a:ext>
            </a:extLst>
          </p:cNvPr>
          <p:cNvSpPr txBox="1"/>
          <p:nvPr userDrawn="1"/>
        </p:nvSpPr>
        <p:spPr>
          <a:xfrm>
            <a:off x="630000" y="2548118"/>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1A5BA7"/>
                </a:solidFill>
                <a:latin typeface="+mn-lt"/>
                <a:sym typeface="Trebuchet MS" panose="020B0603020202020204" pitchFamily="34" charset="0"/>
              </a:rPr>
              <a:t>Table of contents</a:t>
            </a:r>
          </a:p>
        </p:txBody>
      </p:sp>
    </p:spTree>
    <p:extLst>
      <p:ext uri="{BB962C8B-B14F-4D97-AF65-F5344CB8AC3E}">
        <p14:creationId xmlns:p14="http://schemas.microsoft.com/office/powerpoint/2010/main" val="11112929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DEF85E5-E4AB-42D5-9819-CCF0CD43320A}"/>
              </a:ext>
            </a:extLst>
          </p:cNvPr>
          <p:cNvGraphicFramePr>
            <a:graphicFrameLocks noChangeAspect="1"/>
          </p:cNvGraphicFramePr>
          <p:nvPr userDrawn="1">
            <p:custDataLst>
              <p:tags r:id="rId2"/>
            </p:custDataLst>
            <p:extLst>
              <p:ext uri="{D42A27DB-BD31-4B8C-83A1-F6EECF244321}">
                <p14:modId xmlns:p14="http://schemas.microsoft.com/office/powerpoint/2010/main" val="184525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DEF85E5-E4AB-42D5-9819-CCF0CD4332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1A5BA7"/>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913918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A7AEB6-FEC2-4F0E-99DE-C878DFED7601}"/>
              </a:ext>
            </a:extLst>
          </p:cNvPr>
          <p:cNvGraphicFramePr>
            <a:graphicFrameLocks noChangeAspect="1"/>
          </p:cNvGraphicFramePr>
          <p:nvPr userDrawn="1">
            <p:custDataLst>
              <p:tags r:id="rId2"/>
            </p:custDataLst>
            <p:extLst>
              <p:ext uri="{D42A27DB-BD31-4B8C-83A1-F6EECF244321}">
                <p14:modId xmlns:p14="http://schemas.microsoft.com/office/powerpoint/2010/main" val="319956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10A7AEB6-FEC2-4F0E-99DE-C878DFED76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A5BA7"/>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796553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1A5BA7"/>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FDB510-EF43-4247-8261-00FBB5410C7B}"/>
              </a:ext>
            </a:extLst>
          </p:cNvPr>
          <p:cNvGraphicFramePr>
            <a:graphicFrameLocks noChangeAspect="1"/>
          </p:cNvGraphicFramePr>
          <p:nvPr userDrawn="1">
            <p:custDataLst>
              <p:tags r:id="rId2"/>
            </p:custDataLst>
            <p:extLst>
              <p:ext uri="{D42A27DB-BD31-4B8C-83A1-F6EECF244321}">
                <p14:modId xmlns:p14="http://schemas.microsoft.com/office/powerpoint/2010/main" val="733973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9" imgH="396" progId="TCLayout.ActiveDocument.1">
                  <p:embed/>
                </p:oleObj>
              </mc:Choice>
              <mc:Fallback>
                <p:oleObj name="think-cell Slide" r:id="rId4" imgW="389" imgH="396" progId="TCLayout.ActiveDocument.1">
                  <p:embed/>
                  <p:pic>
                    <p:nvPicPr>
                      <p:cNvPr id="5" name="think-cell data - do not delete" hidden="1">
                        <a:extLst>
                          <a:ext uri="{FF2B5EF4-FFF2-40B4-BE49-F238E27FC236}">
                            <a16:creationId xmlns:a16="http://schemas.microsoft.com/office/drawing/2014/main" id="{A2FDB510-EF43-4247-8261-00FBB5410C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22009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3280425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650" y="2081212"/>
            <a:ext cx="10934700" cy="407987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40783288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 id="214748373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A5BA7"/>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320040"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649224" indent="-219456" algn="l" defTabSz="914400" rtl="0" eaLnBrk="1" latinLnBrk="0" hangingPunct="1">
        <a:lnSpc>
          <a:spcPct val="90000"/>
        </a:lnSpc>
        <a:spcBef>
          <a:spcPts val="0"/>
        </a:spcBef>
        <a:spcAft>
          <a:spcPts val="300"/>
        </a:spcAft>
        <a:buClr>
          <a:srgbClr val="1A5BA7"/>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A5BA7"/>
        </a:buClr>
        <a:buFont typeface="Arial" panose="020B0604020202020204" pitchFamily="34" charset="0"/>
        <a:buChar char="​"/>
        <a:defRPr lang="en-US" sz="1600" kern="1200">
          <a:solidFill>
            <a:srgbClr val="1A5BA7"/>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A5BA7"/>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320040" indent="-219456" algn="l" defTabSz="914400" rtl="0" eaLnBrk="1" latinLnBrk="0" hangingPunct="1">
        <a:lnSpc>
          <a:spcPct val="90000"/>
        </a:lnSpc>
        <a:spcBef>
          <a:spcPts val="0"/>
        </a:spcBef>
        <a:spcAft>
          <a:spcPts val="600"/>
        </a:spcAft>
        <a:buClr>
          <a:srgbClr val="1A5BA7"/>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A5BA7"/>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A5BA7"/>
        </a:buClr>
        <a:buFont typeface="Arial" panose="020B0604020202020204" pitchFamily="34" charset="0"/>
        <a:buChar char="​"/>
        <a:defRPr lang="en-US" sz="5400" kern="1200" baseline="0" smtClean="0">
          <a:solidFill>
            <a:srgbClr val="1A5BA7"/>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A5BA7"/>
        </a:buClr>
        <a:buFont typeface="Arial" panose="020B0604020202020204" pitchFamily="34" charset="0"/>
        <a:buChar char="​"/>
        <a:defRPr lang="en-US" sz="2400" kern="1200" baseline="0" dirty="0">
          <a:solidFill>
            <a:srgbClr val="1A5BA7"/>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6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121.xml"/><Relationship Id="rId7" Type="http://schemas.openxmlformats.org/officeDocument/2006/relationships/notesSlide" Target="../notesSlides/notesSlide10.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slideLayout" Target="../slideLayouts/slideLayout42.xml"/><Relationship Id="rId5" Type="http://schemas.openxmlformats.org/officeDocument/2006/relationships/tags" Target="../tags/tag123.xml"/><Relationship Id="rId4" Type="http://schemas.openxmlformats.org/officeDocument/2006/relationships/tags" Target="../tags/tag122.xml"/><Relationship Id="rId9" Type="http://schemas.openxmlformats.org/officeDocument/2006/relationships/image" Target="../media/image12.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24.xml"/><Relationship Id="rId1" Type="http://schemas.openxmlformats.org/officeDocument/2006/relationships/customXml" Target="../../customXml/item5.xml"/><Relationship Id="rId6" Type="http://schemas.openxmlformats.org/officeDocument/2006/relationships/image" Target="../media/image17.emf"/><Relationship Id="rId5" Type="http://schemas.openxmlformats.org/officeDocument/2006/relationships/oleObject" Target="../embeddings/oleObject7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image" Target="../media/image14.jpeg"/><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image" Target="../media/image13.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oleObject" Target="../embeddings/oleObject72.bin"/><Relationship Id="rId5" Type="http://schemas.openxmlformats.org/officeDocument/2006/relationships/tags" Target="../tags/tag129.xml"/><Relationship Id="rId15" Type="http://schemas.openxmlformats.org/officeDocument/2006/relationships/image" Target="../media/image6.emf"/><Relationship Id="rId10" Type="http://schemas.openxmlformats.org/officeDocument/2006/relationships/notesSlide" Target="../notesSlides/notesSlide12.xml"/><Relationship Id="rId4" Type="http://schemas.openxmlformats.org/officeDocument/2006/relationships/tags" Target="../tags/tag128.xml"/><Relationship Id="rId9" Type="http://schemas.openxmlformats.org/officeDocument/2006/relationships/slideLayout" Target="../slideLayouts/slideLayout9.xml"/><Relationship Id="rId14" Type="http://schemas.openxmlformats.org/officeDocument/2006/relationships/oleObject" Target="../embeddings/oleObject70.bin"/></Relationships>
</file>

<file path=ppt/slides/_rels/slide13.xml.rels><?xml version="1.0" encoding="UTF-8" standalone="yes"?>
<Relationships xmlns="http://schemas.openxmlformats.org/package/2006/relationships"><Relationship Id="rId8" Type="http://schemas.openxmlformats.org/officeDocument/2006/relationships/hyperlink" Target="https://broadband.arkansas.gov/wp-content/uploads/2024/12/Applicant-Primer_Updated-2024.12.10-1.pdf" TargetMode="External"/><Relationship Id="rId13" Type="http://schemas.openxmlformats.org/officeDocument/2006/relationships/image" Target="../media/image6.emf"/><Relationship Id="rId3" Type="http://schemas.openxmlformats.org/officeDocument/2006/relationships/tags" Target="../tags/tag135.xml"/><Relationship Id="rId7" Type="http://schemas.openxmlformats.org/officeDocument/2006/relationships/hyperlink" Target="https://broadband.arkansas.gov/wp-content/uploads/2024/12/IPv2-Readable-2024.12.10.pdf" TargetMode="External"/><Relationship Id="rId12" Type="http://schemas.openxmlformats.org/officeDocument/2006/relationships/oleObject" Target="../embeddings/oleObject70.bin"/><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2.emf"/><Relationship Id="rId11" Type="http://schemas.openxmlformats.org/officeDocument/2006/relationships/hyperlink" Target="mailto:argrants@mbakerintl.com" TargetMode="External"/><Relationship Id="rId5" Type="http://schemas.openxmlformats.org/officeDocument/2006/relationships/oleObject" Target="../embeddings/oleObject78.bin"/><Relationship Id="rId10" Type="http://schemas.openxmlformats.org/officeDocument/2006/relationships/hyperlink" Target="https://broadband.arkansas.gov/bead/" TargetMode="External"/><Relationship Id="rId4" Type="http://schemas.openxmlformats.org/officeDocument/2006/relationships/slideLayout" Target="../slideLayouts/slideLayout42.xml"/><Relationship Id="rId9" Type="http://schemas.openxmlformats.org/officeDocument/2006/relationships/hyperlink" Target="https://broadband.arkansas.gov/wp-content/uploads/2024/12/BEAD-Application-User-Guide-v2.0-2024.12.27.pdf"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8.xml"/><Relationship Id="rId7" Type="http://schemas.openxmlformats.org/officeDocument/2006/relationships/oleObject" Target="../embeddings/oleObject79.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notesSlide" Target="../notesSlides/notesSlide13.xml"/><Relationship Id="rId5" Type="http://schemas.openxmlformats.org/officeDocument/2006/relationships/slideLayout" Target="../slideLayouts/slideLayout24.xml"/><Relationship Id="rId10" Type="http://schemas.openxmlformats.org/officeDocument/2006/relationships/image" Target="../media/image6.emf"/><Relationship Id="rId4" Type="http://schemas.openxmlformats.org/officeDocument/2006/relationships/tags" Target="../tags/tag139.xml"/><Relationship Id="rId9" Type="http://schemas.openxmlformats.org/officeDocument/2006/relationships/oleObject" Target="../embeddings/oleObject70.bin"/></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81.xml"/><Relationship Id="rId7" Type="http://schemas.openxmlformats.org/officeDocument/2006/relationships/image" Target="../media/image12.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oleObject" Target="../embeddings/oleObject71.bin"/><Relationship Id="rId5" Type="http://schemas.openxmlformats.org/officeDocument/2006/relationships/notesSlide" Target="../notesSlides/notesSlide2.xml"/><Relationship Id="rId4" Type="http://schemas.openxmlformats.org/officeDocument/2006/relationships/slideLayout" Target="../slideLayouts/slideLayout30.xml"/><Relationship Id="rId9" Type="http://schemas.openxmlformats.org/officeDocument/2006/relationships/image" Target="../media/image6.emf"/></Relationships>
</file>

<file path=ppt/slides/_rels/slide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14.jpe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3.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oleObject" Target="../embeddings/oleObject72.bin"/><Relationship Id="rId5" Type="http://schemas.openxmlformats.org/officeDocument/2006/relationships/tags" Target="../tags/tag86.xml"/><Relationship Id="rId15" Type="http://schemas.openxmlformats.org/officeDocument/2006/relationships/image" Target="../media/image6.emf"/><Relationship Id="rId10" Type="http://schemas.openxmlformats.org/officeDocument/2006/relationships/notesSlide" Target="../notesSlides/notesSlide3.xml"/><Relationship Id="rId4" Type="http://schemas.openxmlformats.org/officeDocument/2006/relationships/tags" Target="../tags/tag85.xml"/><Relationship Id="rId9" Type="http://schemas.openxmlformats.org/officeDocument/2006/relationships/slideLayout" Target="../slideLayouts/slideLayout9.xml"/><Relationship Id="rId14" Type="http://schemas.openxmlformats.org/officeDocument/2006/relationships/oleObject" Target="../embeddings/oleObject70.bin"/></Relationships>
</file>

<file path=ppt/slides/_rels/slide4.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14.jpe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3.emf"/><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oleObject" Target="../embeddings/oleObject72.bin"/><Relationship Id="rId5" Type="http://schemas.openxmlformats.org/officeDocument/2006/relationships/tags" Target="../tags/tag94.xml"/><Relationship Id="rId15" Type="http://schemas.openxmlformats.org/officeDocument/2006/relationships/image" Target="../media/image6.emf"/><Relationship Id="rId10" Type="http://schemas.openxmlformats.org/officeDocument/2006/relationships/notesSlide" Target="../notesSlides/notesSlide4.xml"/><Relationship Id="rId4" Type="http://schemas.openxmlformats.org/officeDocument/2006/relationships/tags" Target="../tags/tag93.xml"/><Relationship Id="rId9" Type="http://schemas.openxmlformats.org/officeDocument/2006/relationships/slideLayout" Target="../slideLayouts/slideLayout9.xml"/><Relationship Id="rId14" Type="http://schemas.openxmlformats.org/officeDocument/2006/relationships/oleObject" Target="../embeddings/oleObject70.bin"/></Relationships>
</file>

<file path=ppt/slides/_rels/slide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30.xml"/><Relationship Id="rId7" Type="http://schemas.openxmlformats.org/officeDocument/2006/relationships/oleObject" Target="../embeddings/oleObject70.bin"/><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emf"/><Relationship Id="rId5" Type="http://schemas.openxmlformats.org/officeDocument/2006/relationships/oleObject" Target="../embeddings/oleObject7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4.jpe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3.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oleObject" Target="../embeddings/oleObject72.bin"/><Relationship Id="rId5" Type="http://schemas.openxmlformats.org/officeDocument/2006/relationships/tags" Target="../tags/tag104.xml"/><Relationship Id="rId15" Type="http://schemas.openxmlformats.org/officeDocument/2006/relationships/image" Target="../media/image6.emf"/><Relationship Id="rId10" Type="http://schemas.openxmlformats.org/officeDocument/2006/relationships/notesSlide" Target="../notesSlides/notesSlide6.xml"/><Relationship Id="rId4" Type="http://schemas.openxmlformats.org/officeDocument/2006/relationships/tags" Target="../tags/tag103.xml"/><Relationship Id="rId9" Type="http://schemas.openxmlformats.org/officeDocument/2006/relationships/slideLayout" Target="../slideLayouts/slideLayout9.xml"/><Relationship Id="rId14" Type="http://schemas.openxmlformats.org/officeDocument/2006/relationships/oleObject" Target="../embeddings/oleObject7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5.png"/><Relationship Id="rId2" Type="http://schemas.openxmlformats.org/officeDocument/2006/relationships/tags" Target="../tags/tag108.xml"/><Relationship Id="rId1" Type="http://schemas.openxmlformats.org/officeDocument/2006/relationships/customXml" Target="../../customXml/item4.xml"/><Relationship Id="rId6" Type="http://schemas.openxmlformats.org/officeDocument/2006/relationships/image" Target="../media/image12.emf"/><Relationship Id="rId5" Type="http://schemas.openxmlformats.org/officeDocument/2006/relationships/oleObject" Target="../embeddings/oleObject7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4.jpe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13.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oleObject" Target="../embeddings/oleObject72.bin"/><Relationship Id="rId5" Type="http://schemas.openxmlformats.org/officeDocument/2006/relationships/tags" Target="../tags/tag113.xml"/><Relationship Id="rId15" Type="http://schemas.openxmlformats.org/officeDocument/2006/relationships/image" Target="../media/image6.emf"/><Relationship Id="rId10" Type="http://schemas.openxmlformats.org/officeDocument/2006/relationships/notesSlide" Target="../notesSlides/notesSlide8.xml"/><Relationship Id="rId4" Type="http://schemas.openxmlformats.org/officeDocument/2006/relationships/tags" Target="../tags/tag112.xml"/><Relationship Id="rId9" Type="http://schemas.openxmlformats.org/officeDocument/2006/relationships/slideLayout" Target="../slideLayouts/slideLayout9.xml"/><Relationship Id="rId14" Type="http://schemas.openxmlformats.org/officeDocument/2006/relationships/oleObject" Target="../embeddings/oleObject70.bin"/></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slideLayout" Target="../slideLayouts/slideLayout30.xml"/><Relationship Id="rId7" Type="http://schemas.openxmlformats.org/officeDocument/2006/relationships/image" Target="../media/image16.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emf"/><Relationship Id="rId5" Type="http://schemas.openxmlformats.org/officeDocument/2006/relationships/oleObject" Target="../embeddings/oleObject75.bin"/><Relationship Id="rId4" Type="http://schemas.openxmlformats.org/officeDocument/2006/relationships/notesSlide" Target="../notesSlides/notesSlide9.xml"/><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E3673E9-A138-4CD1-AA06-8E5F318A8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9" imgH="396" progId="TCLayout.ActiveDocument.1">
                  <p:embed/>
                </p:oleObj>
              </mc:Choice>
              <mc:Fallback>
                <p:oleObj name="think-cell Slide" r:id="rId6" imgW="389" imgH="396" progId="TCLayout.ActiveDocument.1">
                  <p:embed/>
                  <p:pic>
                    <p:nvPicPr>
                      <p:cNvPr id="6" name="think-cell data - do not delete" hidden="1">
                        <a:extLst>
                          <a:ext uri="{FF2B5EF4-FFF2-40B4-BE49-F238E27FC236}">
                            <a16:creationId xmlns:a16="http://schemas.microsoft.com/office/drawing/2014/main" id="{8E3673E9-A138-4CD1-AA06-8E5F318A8E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3F720A33-A5FA-4CAB-BD6E-99A125F86636}"/>
              </a:ext>
            </a:extLst>
          </p:cNvPr>
          <p:cNvSpPr>
            <a:spLocks noGrp="1"/>
          </p:cNvSpPr>
          <p:nvPr>
            <p:ph type="body" sz="quarter" idx="12"/>
          </p:nvPr>
        </p:nvSpPr>
        <p:spPr/>
        <p:txBody>
          <a:bodyPr/>
          <a:lstStyle/>
          <a:p>
            <a:r>
              <a:rPr lang="en-US"/>
              <a:t>April 11, 2025</a:t>
            </a:r>
          </a:p>
        </p:txBody>
      </p:sp>
      <p:sp>
        <p:nvSpPr>
          <p:cNvPr id="4" name="Subtitle 3">
            <a:extLst>
              <a:ext uri="{FF2B5EF4-FFF2-40B4-BE49-F238E27FC236}">
                <a16:creationId xmlns:a16="http://schemas.microsoft.com/office/drawing/2014/main" id="{9C1DC923-2309-431F-B6F5-213D3AC3610C}"/>
              </a:ext>
            </a:extLst>
          </p:cNvPr>
          <p:cNvSpPr>
            <a:spLocks noGrp="1"/>
          </p:cNvSpPr>
          <p:nvPr>
            <p:ph type="subTitle" idx="1"/>
          </p:nvPr>
        </p:nvSpPr>
        <p:spPr/>
        <p:txBody>
          <a:bodyPr/>
          <a:lstStyle/>
          <a:p>
            <a:r>
              <a:rPr lang="en-US"/>
              <a:t>Infrastructure Roundtable - Technical Assistance</a:t>
            </a:r>
          </a:p>
        </p:txBody>
      </p:sp>
      <p:sp>
        <p:nvSpPr>
          <p:cNvPr id="3" name="Title 2">
            <a:extLst>
              <a:ext uri="{FF2B5EF4-FFF2-40B4-BE49-F238E27FC236}">
                <a16:creationId xmlns:a16="http://schemas.microsoft.com/office/drawing/2014/main" id="{62755B69-E715-4728-B9D3-C4640AA1A2B1}"/>
              </a:ext>
            </a:extLst>
          </p:cNvPr>
          <p:cNvSpPr>
            <a:spLocks noGrp="1"/>
          </p:cNvSpPr>
          <p:nvPr>
            <p:ph type="ctrTitle"/>
          </p:nvPr>
        </p:nvSpPr>
        <p:spPr>
          <a:xfrm>
            <a:off x="1117415" y="1886242"/>
            <a:ext cx="9366498" cy="3138423"/>
          </a:xfrm>
        </p:spPr>
        <p:txBody>
          <a:bodyPr vert="horz"/>
          <a:lstStyle/>
          <a:p>
            <a:r>
              <a:rPr lang="en-US"/>
              <a:t>The Arkansas </a:t>
            </a:r>
            <a:br>
              <a:rPr lang="en-US"/>
            </a:br>
            <a:r>
              <a:rPr lang="en-US"/>
              <a:t>BEAD Program</a:t>
            </a:r>
          </a:p>
        </p:txBody>
      </p:sp>
      <p:graphicFrame>
        <p:nvGraphicFramePr>
          <p:cNvPr id="2" name="think-cell data - do not delete" hidden="1">
            <a:extLst>
              <a:ext uri="{FF2B5EF4-FFF2-40B4-BE49-F238E27FC236}">
                <a16:creationId xmlns:a16="http://schemas.microsoft.com/office/drawing/2014/main" id="{85AEBCBC-A0E7-EED4-72C9-875365A74C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2" name="think-cell data - do not delete" hidden="1">
                        <a:extLst>
                          <a:ext uri="{FF2B5EF4-FFF2-40B4-BE49-F238E27FC236}">
                            <a16:creationId xmlns:a16="http://schemas.microsoft.com/office/drawing/2014/main" id="{85AEBCBC-A0E7-EED4-72C9-875365A74C3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4AFCA18E-1FB6-C404-9818-CD8ACEBD81D0}"/>
              </a:ext>
            </a:extLst>
          </p:cNvPr>
          <p:cNvGraphicFramePr>
            <a:graphicFrameLocks noChangeAspect="1"/>
          </p:cNvGraphicFramePr>
          <p:nvPr>
            <p:custDataLst>
              <p:tags r:id="rId3"/>
            </p:custDataLst>
            <p:extLst>
              <p:ext uri="{D42A27DB-BD31-4B8C-83A1-F6EECF244321}">
                <p14:modId xmlns:p14="http://schemas.microsoft.com/office/powerpoint/2010/main" val="81542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7" name="think-cell data - do not delete" hidden="1">
                        <a:extLst>
                          <a:ext uri="{FF2B5EF4-FFF2-40B4-BE49-F238E27FC236}">
                            <a16:creationId xmlns:a16="http://schemas.microsoft.com/office/drawing/2014/main" id="{4AFCA18E-1FB6-C404-9818-CD8ACEBD81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031612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B597C3-8830-6A5D-3BD4-CE2461AFE70B}"/>
              </a:ext>
            </a:extLst>
          </p:cNvPr>
          <p:cNvGraphicFramePr>
            <a:graphicFrameLocks noChangeAspect="1"/>
          </p:cNvGraphicFramePr>
          <p:nvPr>
            <p:custDataLst>
              <p:tags r:id="rId1"/>
            </p:custDataLst>
            <p:extLst>
              <p:ext uri="{D42A27DB-BD31-4B8C-83A1-F6EECF244321}">
                <p14:modId xmlns:p14="http://schemas.microsoft.com/office/powerpoint/2010/main" val="369501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84" imgH="486" progId="TCLayout.ActiveDocument.1">
                  <p:embed/>
                </p:oleObj>
              </mc:Choice>
              <mc:Fallback>
                <p:oleObj name="think-cell Slide" r:id="rId8" imgW="484" imgH="486" progId="TCLayout.ActiveDocument.1">
                  <p:embed/>
                  <p:pic>
                    <p:nvPicPr>
                      <p:cNvPr id="4" name="think-cell data - do not delete" hidden="1">
                        <a:extLst>
                          <a:ext uri="{FF2B5EF4-FFF2-40B4-BE49-F238E27FC236}">
                            <a16:creationId xmlns:a16="http://schemas.microsoft.com/office/drawing/2014/main" id="{E4B597C3-8830-6A5D-3BD4-CE2461AFE70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42960BD-81F6-777F-9206-6748106BAD8F}"/>
              </a:ext>
            </a:extLst>
          </p:cNvPr>
          <p:cNvSpPr txBox="1"/>
          <p:nvPr/>
        </p:nvSpPr>
        <p:spPr>
          <a:xfrm>
            <a:off x="5181600" y="1065531"/>
            <a:ext cx="6380400" cy="13219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Aft>
                <a:spcPts val="600"/>
              </a:spcAft>
              <a:buClrTx/>
              <a:buSzTx/>
              <a:buFontTx/>
              <a:buNone/>
              <a:tabLst/>
              <a:defRPr/>
            </a:pPr>
            <a:r>
              <a:rPr lang="en-US" sz="1600" b="1">
                <a:solidFill>
                  <a:schemeClr val="tx2"/>
                </a:solidFill>
                <a:latin typeface="+mj-lt"/>
              </a:rPr>
              <a:t>Project area restrictions</a:t>
            </a:r>
          </a:p>
          <a:p>
            <a:pPr marL="324000" lvl="1" indent="-216000" algn="l" defTabSz="914400" rtl="0" eaLnBrk="1" latinLnBrk="0" hangingPunct="1">
              <a:lnSpc>
                <a:spcPct val="100000"/>
              </a:lnSpc>
              <a:spcAft>
                <a:spcPts val="300"/>
              </a:spcAft>
              <a:buClr>
                <a:schemeClr val="tx2"/>
              </a:buClr>
              <a:buFont typeface="Trebuchet MS" panose="020B0603020202020204" pitchFamily="34" charset="0"/>
              <a:buChar char="•"/>
            </a:pPr>
            <a:r>
              <a:rPr lang="en-US" sz="1400">
                <a:solidFill>
                  <a:schemeClr val="tx1"/>
                </a:solidFill>
                <a:latin typeface="+mj-lt"/>
                <a:sym typeface="Trebuchet MS" panose="020B0603020202020204" pitchFamily="34" charset="0"/>
              </a:rPr>
              <a:t>All </a:t>
            </a:r>
            <a:r>
              <a:rPr lang="en-US" sz="1400" err="1">
                <a:solidFill>
                  <a:schemeClr val="tx1"/>
                </a:solidFill>
                <a:latin typeface="+mj-lt"/>
                <a:sym typeface="Trebuchet MS" panose="020B0603020202020204" pitchFamily="34" charset="0"/>
              </a:rPr>
              <a:t>CBGs</a:t>
            </a:r>
            <a:r>
              <a:rPr lang="en-US" sz="1400">
                <a:solidFill>
                  <a:schemeClr val="tx1"/>
                </a:solidFill>
                <a:latin typeface="+mj-lt"/>
                <a:sym typeface="Trebuchet MS" panose="020B0603020202020204" pitchFamily="34" charset="0"/>
              </a:rPr>
              <a:t> that remain at the beginning of Tranche-3 are available for bidding</a:t>
            </a:r>
          </a:p>
          <a:p>
            <a:pPr marL="324000" lvl="1" indent="-216000" algn="l" defTabSz="914400" rtl="0" eaLnBrk="1" latinLnBrk="0" hangingPunct="1">
              <a:lnSpc>
                <a:spcPct val="100000"/>
              </a:lnSpc>
              <a:spcAft>
                <a:spcPts val="300"/>
              </a:spcAft>
              <a:buClr>
                <a:schemeClr val="tx2"/>
              </a:buClr>
              <a:buFont typeface="Trebuchet MS" panose="020B0603020202020204" pitchFamily="34" charset="0"/>
              <a:buChar char="•"/>
            </a:pPr>
            <a:r>
              <a:rPr lang="en-US" sz="1400">
                <a:solidFill>
                  <a:schemeClr val="tx1"/>
                </a:solidFill>
                <a:latin typeface="+mj-lt"/>
                <a:sym typeface="Trebuchet MS" panose="020B0603020202020204" pitchFamily="34" charset="0"/>
              </a:rPr>
              <a:t>A bid's project area may only include a single CBG</a:t>
            </a:r>
            <a:r>
              <a:rPr lang="en-US" sz="1400" baseline="30000">
                <a:solidFill>
                  <a:schemeClr val="tx1"/>
                </a:solidFill>
                <a:latin typeface="+mj-lt"/>
                <a:sym typeface="Trebuchet MS" panose="020B0603020202020204" pitchFamily="34" charset="0"/>
              </a:rPr>
              <a:t>1</a:t>
            </a:r>
          </a:p>
          <a:p>
            <a:pPr marL="324000" lvl="1" indent="-216000" algn="l" defTabSz="914400" rtl="0" eaLnBrk="1" latinLnBrk="0" hangingPunct="1">
              <a:lnSpc>
                <a:spcPct val="100000"/>
              </a:lnSpc>
              <a:spcAft>
                <a:spcPts val="300"/>
              </a:spcAft>
              <a:buClr>
                <a:schemeClr val="tx2"/>
              </a:buClr>
              <a:buFont typeface="Trebuchet MS" panose="020B0603020202020204" pitchFamily="34" charset="0"/>
              <a:buChar char="•"/>
            </a:pPr>
            <a:r>
              <a:rPr lang="en-US" sz="1400">
                <a:solidFill>
                  <a:schemeClr val="tx1"/>
                </a:solidFill>
                <a:latin typeface="+mj-lt"/>
                <a:sym typeface="Trebuchet MS" panose="020B0603020202020204" pitchFamily="34" charset="0"/>
              </a:rPr>
              <a:t>An applicant may bid on a </a:t>
            </a:r>
            <a:r>
              <a:rPr lang="en-US" sz="1400" err="1">
                <a:solidFill>
                  <a:schemeClr val="tx1"/>
                </a:solidFill>
                <a:latin typeface="+mj-lt"/>
                <a:sym typeface="Trebuchet MS" panose="020B0603020202020204" pitchFamily="34" charset="0"/>
              </a:rPr>
              <a:t>CBG</a:t>
            </a:r>
            <a:r>
              <a:rPr lang="en-US" sz="1400">
                <a:solidFill>
                  <a:schemeClr val="tx1"/>
                </a:solidFill>
                <a:latin typeface="+mj-lt"/>
                <a:sym typeface="Trebuchet MS" panose="020B0603020202020204" pitchFamily="34" charset="0"/>
              </a:rPr>
              <a:t> up to 3 times</a:t>
            </a:r>
          </a:p>
        </p:txBody>
      </p:sp>
      <p:sp>
        <p:nvSpPr>
          <p:cNvPr id="17" name="TextBox 16">
            <a:extLst>
              <a:ext uri="{FF2B5EF4-FFF2-40B4-BE49-F238E27FC236}">
                <a16:creationId xmlns:a16="http://schemas.microsoft.com/office/drawing/2014/main" id="{7BF072F8-20E3-C3AA-5242-2C954750D5D8}"/>
              </a:ext>
            </a:extLst>
          </p:cNvPr>
          <p:cNvSpPr txBox="1"/>
          <p:nvPr/>
        </p:nvSpPr>
        <p:spPr>
          <a:xfrm>
            <a:off x="5181600" y="3084622"/>
            <a:ext cx="6380400" cy="846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spcAft>
                <a:spcPts val="600"/>
              </a:spcAft>
              <a:defRPr/>
            </a:pPr>
            <a:r>
              <a:rPr lang="en-US" sz="1600" b="1">
                <a:solidFill>
                  <a:schemeClr val="tx2"/>
                </a:solidFill>
              </a:rPr>
              <a:t>Tranche-3 rules of adjudication</a:t>
            </a:r>
          </a:p>
          <a:p>
            <a:pPr marL="324000" lvl="1" indent="-216000">
              <a:spcAft>
                <a:spcPts val="300"/>
              </a:spcAft>
              <a:buClr>
                <a:schemeClr val="tx2"/>
              </a:buClr>
              <a:buFont typeface="Trebuchet MS" panose="020B0603020202020204" pitchFamily="34" charset="0"/>
              <a:buChar char="•"/>
            </a:pPr>
            <a:r>
              <a:rPr lang="en-US" sz="1400" b="1">
                <a:solidFill>
                  <a:schemeClr val="tx1"/>
                </a:solidFill>
              </a:rPr>
              <a:t>Rule #1: </a:t>
            </a:r>
            <a:r>
              <a:rPr lang="en-US" sz="1400">
                <a:solidFill>
                  <a:schemeClr val="tx1"/>
                </a:solidFill>
              </a:rPr>
              <a:t>Preliminary selections will have the highest score of the highest technology type or are the sole bidder on their project area</a:t>
            </a:r>
          </a:p>
        </p:txBody>
      </p:sp>
      <p:grpSp>
        <p:nvGrpSpPr>
          <p:cNvPr id="31" name="Group 30">
            <a:extLst>
              <a:ext uri="{FF2B5EF4-FFF2-40B4-BE49-F238E27FC236}">
                <a16:creationId xmlns:a16="http://schemas.microsoft.com/office/drawing/2014/main" id="{38324CE9-5A6A-EEE8-5E7C-A0887FC011A6}"/>
              </a:ext>
            </a:extLst>
          </p:cNvPr>
          <p:cNvGrpSpPr/>
          <p:nvPr/>
        </p:nvGrpSpPr>
        <p:grpSpPr>
          <a:xfrm>
            <a:off x="4377841" y="3153392"/>
            <a:ext cx="708164" cy="708846"/>
            <a:chOff x="4229585" y="3686201"/>
            <a:chExt cx="1004675" cy="1005645"/>
          </a:xfrm>
        </p:grpSpPr>
        <p:sp>
          <p:nvSpPr>
            <p:cNvPr id="21" name="Oval 20">
              <a:extLst>
                <a:ext uri="{FF2B5EF4-FFF2-40B4-BE49-F238E27FC236}">
                  <a16:creationId xmlns:a16="http://schemas.microsoft.com/office/drawing/2014/main" id="{95A9A4C7-A572-A1D8-3B42-8351939DC15D}"/>
                </a:ext>
              </a:extLst>
            </p:cNvPr>
            <p:cNvSpPr/>
            <p:nvPr>
              <p:custDataLst>
                <p:tags r:id="rId5"/>
              </p:custDataLst>
            </p:nvPr>
          </p:nvSpPr>
          <p:spPr>
            <a:xfrm>
              <a:off x="4229585" y="3686201"/>
              <a:ext cx="1004675" cy="100564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lumMod val="50000"/>
                  </a:schemeClr>
                </a:solidFill>
              </a:endParaRPr>
            </a:p>
          </p:txBody>
        </p:sp>
        <p:grpSp>
          <p:nvGrpSpPr>
            <p:cNvPr id="25" name="bcgIcons_Gavel ">
              <a:extLst>
                <a:ext uri="{FF2B5EF4-FFF2-40B4-BE49-F238E27FC236}">
                  <a16:creationId xmlns:a16="http://schemas.microsoft.com/office/drawing/2014/main" id="{A380D45A-B7AD-102B-9EC9-96264D463AB8}"/>
                </a:ext>
              </a:extLst>
            </p:cNvPr>
            <p:cNvGrpSpPr>
              <a:grpSpLocks noChangeAspect="1"/>
            </p:cNvGrpSpPr>
            <p:nvPr/>
          </p:nvGrpSpPr>
          <p:grpSpPr>
            <a:xfrm>
              <a:off x="4376716" y="3833474"/>
              <a:ext cx="710413" cy="711099"/>
              <a:chOff x="5273675" y="2514600"/>
              <a:chExt cx="1644650" cy="1646238"/>
            </a:xfrm>
          </p:grpSpPr>
          <p:sp>
            <p:nvSpPr>
              <p:cNvPr id="26" name="AutoShape 3">
                <a:extLst>
                  <a:ext uri="{FF2B5EF4-FFF2-40B4-BE49-F238E27FC236}">
                    <a16:creationId xmlns:a16="http://schemas.microsoft.com/office/drawing/2014/main" id="{D33DB9F8-B09A-8956-E9F6-B6D163BFCBE7}"/>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27" name="Group 26">
                <a:extLst>
                  <a:ext uri="{FF2B5EF4-FFF2-40B4-BE49-F238E27FC236}">
                    <a16:creationId xmlns:a16="http://schemas.microsoft.com/office/drawing/2014/main" id="{B2C1A4A5-4A47-6843-C3CA-CAF7A2B7F2B8}"/>
                  </a:ext>
                </a:extLst>
              </p:cNvPr>
              <p:cNvGrpSpPr/>
              <p:nvPr/>
            </p:nvGrpSpPr>
            <p:grpSpPr>
              <a:xfrm>
                <a:off x="5439085" y="2789764"/>
                <a:ext cx="1313830" cy="1095911"/>
                <a:chOff x="5437188" y="2790289"/>
                <a:chExt cx="1313830" cy="1095911"/>
              </a:xfrm>
            </p:grpSpPr>
            <p:sp>
              <p:nvSpPr>
                <p:cNvPr id="28" name="Freeform 5">
                  <a:extLst>
                    <a:ext uri="{FF2B5EF4-FFF2-40B4-BE49-F238E27FC236}">
                      <a16:creationId xmlns:a16="http://schemas.microsoft.com/office/drawing/2014/main" id="{52D374C5-0B2C-A574-E4FC-F3AA91192992}"/>
                    </a:ext>
                  </a:extLst>
                </p:cNvPr>
                <p:cNvSpPr>
                  <a:spLocks/>
                </p:cNvSpPr>
                <p:nvPr/>
              </p:nvSpPr>
              <p:spPr bwMode="auto">
                <a:xfrm>
                  <a:off x="5437188" y="2790289"/>
                  <a:ext cx="741363" cy="1095911"/>
                </a:xfrm>
                <a:custGeom>
                  <a:avLst/>
                  <a:gdLst>
                    <a:gd name="connsiteX0" fmla="*/ 59994 w 741363"/>
                    <a:gd name="connsiteY0" fmla="*/ 940336 h 1095911"/>
                    <a:gd name="connsiteX1" fmla="*/ 681369 w 741363"/>
                    <a:gd name="connsiteY1" fmla="*/ 940336 h 1095911"/>
                    <a:gd name="connsiteX2" fmla="*/ 697081 w 741363"/>
                    <a:gd name="connsiteY2" fmla="*/ 956182 h 1095911"/>
                    <a:gd name="connsiteX3" fmla="*/ 697081 w 741363"/>
                    <a:gd name="connsiteY3" fmla="*/ 1006600 h 1095911"/>
                    <a:gd name="connsiteX4" fmla="*/ 725650 w 741363"/>
                    <a:gd name="connsiteY4" fmla="*/ 1006600 h 1095911"/>
                    <a:gd name="connsiteX5" fmla="*/ 741363 w 741363"/>
                    <a:gd name="connsiteY5" fmla="*/ 1022445 h 1095911"/>
                    <a:gd name="connsiteX6" fmla="*/ 741363 w 741363"/>
                    <a:gd name="connsiteY6" fmla="*/ 1079345 h 1095911"/>
                    <a:gd name="connsiteX7" fmla="*/ 725650 w 741363"/>
                    <a:gd name="connsiteY7" fmla="*/ 1095911 h 1095911"/>
                    <a:gd name="connsiteX8" fmla="*/ 15713 w 741363"/>
                    <a:gd name="connsiteY8" fmla="*/ 1095911 h 1095911"/>
                    <a:gd name="connsiteX9" fmla="*/ 0 w 741363"/>
                    <a:gd name="connsiteY9" fmla="*/ 1079345 h 1095911"/>
                    <a:gd name="connsiteX10" fmla="*/ 0 w 741363"/>
                    <a:gd name="connsiteY10" fmla="*/ 1022445 h 1095911"/>
                    <a:gd name="connsiteX11" fmla="*/ 15713 w 741363"/>
                    <a:gd name="connsiteY11" fmla="*/ 1006600 h 1095911"/>
                    <a:gd name="connsiteX12" fmla="*/ 44282 w 741363"/>
                    <a:gd name="connsiteY12" fmla="*/ 1006600 h 1095911"/>
                    <a:gd name="connsiteX13" fmla="*/ 44282 w 741363"/>
                    <a:gd name="connsiteY13" fmla="*/ 956182 h 1095911"/>
                    <a:gd name="connsiteX14" fmla="*/ 59994 w 741363"/>
                    <a:gd name="connsiteY14" fmla="*/ 940336 h 1095911"/>
                    <a:gd name="connsiteX15" fmla="*/ 243001 w 741363"/>
                    <a:gd name="connsiteY15" fmla="*/ 537111 h 1095911"/>
                    <a:gd name="connsiteX16" fmla="*/ 257312 w 741363"/>
                    <a:gd name="connsiteY16" fmla="*/ 544981 h 1095911"/>
                    <a:gd name="connsiteX17" fmla="*/ 497021 w 741363"/>
                    <a:gd name="connsiteY17" fmla="*/ 632975 h 1095911"/>
                    <a:gd name="connsiteX18" fmla="*/ 512763 w 741363"/>
                    <a:gd name="connsiteY18" fmla="*/ 635836 h 1095911"/>
                    <a:gd name="connsiteX19" fmla="*/ 501314 w 741363"/>
                    <a:gd name="connsiteY19" fmla="*/ 667314 h 1095911"/>
                    <a:gd name="connsiteX20" fmla="*/ 441208 w 741363"/>
                    <a:gd name="connsiteY20" fmla="*/ 695214 h 1095911"/>
                    <a:gd name="connsiteX21" fmla="*/ 259458 w 741363"/>
                    <a:gd name="connsiteY21" fmla="*/ 628682 h 1095911"/>
                    <a:gd name="connsiteX22" fmla="*/ 231552 w 741363"/>
                    <a:gd name="connsiteY22" fmla="*/ 568589 h 1095911"/>
                    <a:gd name="connsiteX23" fmla="*/ 243001 w 741363"/>
                    <a:gd name="connsiteY23" fmla="*/ 537111 h 1095911"/>
                    <a:gd name="connsiteX24" fmla="*/ 488852 w 741363"/>
                    <a:gd name="connsiteY24" fmla="*/ 2734 h 1095911"/>
                    <a:gd name="connsiteX25" fmla="*/ 670054 w 741363"/>
                    <a:gd name="connsiteY25" fmla="*/ 69694 h 1095911"/>
                    <a:gd name="connsiteX26" fmla="*/ 697876 w 741363"/>
                    <a:gd name="connsiteY26" fmla="*/ 128819 h 1095911"/>
                    <a:gd name="connsiteX27" fmla="*/ 685749 w 741363"/>
                    <a:gd name="connsiteY27" fmla="*/ 160874 h 1095911"/>
                    <a:gd name="connsiteX28" fmla="*/ 672194 w 741363"/>
                    <a:gd name="connsiteY28" fmla="*/ 152326 h 1095911"/>
                    <a:gd name="connsiteX29" fmla="*/ 433207 w 741363"/>
                    <a:gd name="connsiteY29" fmla="*/ 65420 h 1095911"/>
                    <a:gd name="connsiteX30" fmla="*/ 417512 w 741363"/>
                    <a:gd name="connsiteY30" fmla="*/ 62571 h 1095911"/>
                    <a:gd name="connsiteX31" fmla="*/ 428927 w 741363"/>
                    <a:gd name="connsiteY31" fmla="*/ 30516 h 1095911"/>
                    <a:gd name="connsiteX32" fmla="*/ 488852 w 741363"/>
                    <a:gd name="connsiteY32" fmla="*/ 2734 h 109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363" h="1095911">
                      <a:moveTo>
                        <a:pt x="59994" y="940336"/>
                      </a:moveTo>
                      <a:cubicBezTo>
                        <a:pt x="59994" y="940336"/>
                        <a:pt x="59994" y="940336"/>
                        <a:pt x="681369" y="940336"/>
                      </a:cubicBezTo>
                      <a:cubicBezTo>
                        <a:pt x="690653" y="940336"/>
                        <a:pt x="697081" y="947539"/>
                        <a:pt x="697081" y="956182"/>
                      </a:cubicBezTo>
                      <a:cubicBezTo>
                        <a:pt x="697081" y="956182"/>
                        <a:pt x="697081" y="956182"/>
                        <a:pt x="697081" y="1006600"/>
                      </a:cubicBezTo>
                      <a:cubicBezTo>
                        <a:pt x="697081" y="1006600"/>
                        <a:pt x="697081" y="1006600"/>
                        <a:pt x="725650" y="1006600"/>
                      </a:cubicBezTo>
                      <a:cubicBezTo>
                        <a:pt x="734221" y="1006600"/>
                        <a:pt x="741363" y="1013802"/>
                        <a:pt x="741363" y="1022445"/>
                      </a:cubicBezTo>
                      <a:cubicBezTo>
                        <a:pt x="741363" y="1022445"/>
                        <a:pt x="741363" y="1022445"/>
                        <a:pt x="741363" y="1079345"/>
                      </a:cubicBezTo>
                      <a:cubicBezTo>
                        <a:pt x="741363" y="1088709"/>
                        <a:pt x="734221" y="1095911"/>
                        <a:pt x="725650" y="1095911"/>
                      </a:cubicBezTo>
                      <a:cubicBezTo>
                        <a:pt x="725650" y="1095911"/>
                        <a:pt x="725650" y="1095911"/>
                        <a:pt x="15713" y="1095911"/>
                      </a:cubicBezTo>
                      <a:cubicBezTo>
                        <a:pt x="7142" y="1095911"/>
                        <a:pt x="0" y="1088709"/>
                        <a:pt x="0" y="1079345"/>
                      </a:cubicBezTo>
                      <a:cubicBezTo>
                        <a:pt x="0" y="1079345"/>
                        <a:pt x="0" y="1079345"/>
                        <a:pt x="0" y="1022445"/>
                      </a:cubicBezTo>
                      <a:cubicBezTo>
                        <a:pt x="0" y="1013802"/>
                        <a:pt x="7142" y="1006600"/>
                        <a:pt x="15713" y="1006600"/>
                      </a:cubicBezTo>
                      <a:cubicBezTo>
                        <a:pt x="15713" y="1006600"/>
                        <a:pt x="15713" y="1006600"/>
                        <a:pt x="44282" y="1006600"/>
                      </a:cubicBezTo>
                      <a:cubicBezTo>
                        <a:pt x="44282" y="1006600"/>
                        <a:pt x="44282" y="1006600"/>
                        <a:pt x="44282" y="956182"/>
                      </a:cubicBezTo>
                      <a:cubicBezTo>
                        <a:pt x="44282" y="947539"/>
                        <a:pt x="51424" y="940336"/>
                        <a:pt x="59994" y="940336"/>
                      </a:cubicBezTo>
                      <a:close/>
                      <a:moveTo>
                        <a:pt x="243001" y="537111"/>
                      </a:moveTo>
                      <a:cubicBezTo>
                        <a:pt x="247294" y="539973"/>
                        <a:pt x="251587" y="542834"/>
                        <a:pt x="257312" y="544981"/>
                      </a:cubicBezTo>
                      <a:cubicBezTo>
                        <a:pt x="257312" y="544981"/>
                        <a:pt x="257312" y="544981"/>
                        <a:pt x="497021" y="632975"/>
                      </a:cubicBezTo>
                      <a:cubicBezTo>
                        <a:pt x="502030" y="634405"/>
                        <a:pt x="507039" y="635836"/>
                        <a:pt x="512763" y="635836"/>
                      </a:cubicBezTo>
                      <a:cubicBezTo>
                        <a:pt x="512763" y="635836"/>
                        <a:pt x="512763" y="635836"/>
                        <a:pt x="501314" y="667314"/>
                      </a:cubicBezTo>
                      <a:cubicBezTo>
                        <a:pt x="492012" y="691637"/>
                        <a:pt x="465537" y="703799"/>
                        <a:pt x="441208" y="695214"/>
                      </a:cubicBezTo>
                      <a:cubicBezTo>
                        <a:pt x="441208" y="695214"/>
                        <a:pt x="441208" y="695214"/>
                        <a:pt x="259458" y="628682"/>
                      </a:cubicBezTo>
                      <a:cubicBezTo>
                        <a:pt x="235130" y="619382"/>
                        <a:pt x="222250" y="592912"/>
                        <a:pt x="231552" y="568589"/>
                      </a:cubicBezTo>
                      <a:cubicBezTo>
                        <a:pt x="231552" y="568589"/>
                        <a:pt x="231552" y="568589"/>
                        <a:pt x="243001" y="537111"/>
                      </a:cubicBezTo>
                      <a:close/>
                      <a:moveTo>
                        <a:pt x="488852" y="2734"/>
                      </a:moveTo>
                      <a:cubicBezTo>
                        <a:pt x="488852" y="2734"/>
                        <a:pt x="488852" y="2734"/>
                        <a:pt x="670054" y="69694"/>
                      </a:cubicBezTo>
                      <a:cubicBezTo>
                        <a:pt x="694310" y="78242"/>
                        <a:pt x="706437" y="104599"/>
                        <a:pt x="697876" y="128819"/>
                      </a:cubicBezTo>
                      <a:cubicBezTo>
                        <a:pt x="697876" y="128819"/>
                        <a:pt x="697876" y="128819"/>
                        <a:pt x="685749" y="160874"/>
                      </a:cubicBezTo>
                      <a:cubicBezTo>
                        <a:pt x="682182" y="157312"/>
                        <a:pt x="677188" y="154463"/>
                        <a:pt x="672194" y="152326"/>
                      </a:cubicBezTo>
                      <a:lnTo>
                        <a:pt x="433207" y="65420"/>
                      </a:lnTo>
                      <a:cubicBezTo>
                        <a:pt x="428213" y="63283"/>
                        <a:pt x="422506" y="62571"/>
                        <a:pt x="417512" y="62571"/>
                      </a:cubicBezTo>
                      <a:cubicBezTo>
                        <a:pt x="417512" y="62571"/>
                        <a:pt x="417512" y="62571"/>
                        <a:pt x="428927" y="30516"/>
                      </a:cubicBezTo>
                      <a:cubicBezTo>
                        <a:pt x="437487" y="6296"/>
                        <a:pt x="464596" y="-5814"/>
                        <a:pt x="488852" y="27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29" name="Freeform 6">
                  <a:extLst>
                    <a:ext uri="{FF2B5EF4-FFF2-40B4-BE49-F238E27FC236}">
                      <a16:creationId xmlns:a16="http://schemas.microsoft.com/office/drawing/2014/main" id="{AFDA0ADB-AF50-6667-F45B-CD549979F712}"/>
                    </a:ext>
                  </a:extLst>
                </p:cNvPr>
                <p:cNvSpPr>
                  <a:spLocks/>
                </p:cNvSpPr>
                <p:nvPr/>
              </p:nvSpPr>
              <p:spPr bwMode="auto">
                <a:xfrm>
                  <a:off x="5695077" y="2883282"/>
                  <a:ext cx="1055941" cy="616303"/>
                </a:xfrm>
                <a:custGeom>
                  <a:avLst/>
                  <a:gdLst>
                    <a:gd name="connsiteX0" fmla="*/ 387558 w 1055941"/>
                    <a:gd name="connsiteY0" fmla="*/ 269493 h 616303"/>
                    <a:gd name="connsiteX1" fmla="*/ 393981 w 1055941"/>
                    <a:gd name="connsiteY1" fmla="*/ 270920 h 616303"/>
                    <a:gd name="connsiteX2" fmla="*/ 1027064 w 1055941"/>
                    <a:gd name="connsiteY2" fmla="*/ 482090 h 616303"/>
                    <a:gd name="connsiteX3" fmla="*/ 1053472 w 1055941"/>
                    <a:gd name="connsiteY3" fmla="*/ 537022 h 616303"/>
                    <a:gd name="connsiteX4" fmla="*/ 1034201 w 1055941"/>
                    <a:gd name="connsiteY4" fmla="*/ 589101 h 616303"/>
                    <a:gd name="connsiteX5" fmla="*/ 979244 w 1055941"/>
                    <a:gd name="connsiteY5" fmla="*/ 613357 h 616303"/>
                    <a:gd name="connsiteX6" fmla="*/ 359008 w 1055941"/>
                    <a:gd name="connsiteY6" fmla="*/ 365090 h 616303"/>
                    <a:gd name="connsiteX7" fmla="*/ 353298 w 1055941"/>
                    <a:gd name="connsiteY7" fmla="*/ 361523 h 616303"/>
                    <a:gd name="connsiteX8" fmla="*/ 387558 w 1055941"/>
                    <a:gd name="connsiteY8" fmla="*/ 269493 h 616303"/>
                    <a:gd name="connsiteX9" fmla="*/ 164418 w 1055941"/>
                    <a:gd name="connsiteY9" fmla="*/ 889 h 616303"/>
                    <a:gd name="connsiteX10" fmla="*/ 403099 w 1055941"/>
                    <a:gd name="connsiteY10" fmla="*/ 88757 h 616303"/>
                    <a:gd name="connsiteX11" fmla="*/ 412361 w 1055941"/>
                    <a:gd name="connsiteY11" fmla="*/ 108759 h 616303"/>
                    <a:gd name="connsiteX12" fmla="*/ 326151 w 1055941"/>
                    <a:gd name="connsiteY12" fmla="*/ 343789 h 616303"/>
                    <a:gd name="connsiteX13" fmla="*/ 269153 w 1055941"/>
                    <a:gd name="connsiteY13" fmla="*/ 499522 h 616303"/>
                    <a:gd name="connsiteX14" fmla="*/ 249204 w 1055941"/>
                    <a:gd name="connsiteY14" fmla="*/ 508809 h 616303"/>
                    <a:gd name="connsiteX15" fmla="*/ 10523 w 1055941"/>
                    <a:gd name="connsiteY15" fmla="*/ 421656 h 616303"/>
                    <a:gd name="connsiteX16" fmla="*/ 1261 w 1055941"/>
                    <a:gd name="connsiteY16" fmla="*/ 400939 h 616303"/>
                    <a:gd name="connsiteX17" fmla="*/ 143757 w 1055941"/>
                    <a:gd name="connsiteY17" fmla="*/ 10176 h 616303"/>
                    <a:gd name="connsiteX18" fmla="*/ 164418 w 1055941"/>
                    <a:gd name="connsiteY18" fmla="*/ 889 h 6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41" h="616303">
                      <a:moveTo>
                        <a:pt x="387558" y="269493"/>
                      </a:moveTo>
                      <a:cubicBezTo>
                        <a:pt x="389699" y="269493"/>
                        <a:pt x="391840" y="270207"/>
                        <a:pt x="393981" y="270920"/>
                      </a:cubicBezTo>
                      <a:cubicBezTo>
                        <a:pt x="393981" y="270920"/>
                        <a:pt x="393981" y="270920"/>
                        <a:pt x="1027064" y="482090"/>
                      </a:cubicBezTo>
                      <a:cubicBezTo>
                        <a:pt x="1049903" y="489937"/>
                        <a:pt x="1061323" y="514193"/>
                        <a:pt x="1053472" y="537022"/>
                      </a:cubicBezTo>
                      <a:cubicBezTo>
                        <a:pt x="1053472" y="537022"/>
                        <a:pt x="1053472" y="537022"/>
                        <a:pt x="1034201" y="589101"/>
                      </a:cubicBezTo>
                      <a:cubicBezTo>
                        <a:pt x="1026350" y="611217"/>
                        <a:pt x="1001369" y="621918"/>
                        <a:pt x="979244" y="613357"/>
                      </a:cubicBezTo>
                      <a:cubicBezTo>
                        <a:pt x="979244" y="613357"/>
                        <a:pt x="979244" y="613357"/>
                        <a:pt x="359008" y="365090"/>
                      </a:cubicBezTo>
                      <a:cubicBezTo>
                        <a:pt x="356867" y="364377"/>
                        <a:pt x="355439" y="362950"/>
                        <a:pt x="353298" y="361523"/>
                      </a:cubicBezTo>
                      <a:cubicBezTo>
                        <a:pt x="353298" y="361523"/>
                        <a:pt x="353298" y="361523"/>
                        <a:pt x="387558" y="269493"/>
                      </a:cubicBezTo>
                      <a:close/>
                      <a:moveTo>
                        <a:pt x="164418" y="889"/>
                      </a:moveTo>
                      <a:cubicBezTo>
                        <a:pt x="164418" y="889"/>
                        <a:pt x="164418" y="889"/>
                        <a:pt x="403099" y="88757"/>
                      </a:cubicBezTo>
                      <a:cubicBezTo>
                        <a:pt x="410936" y="91614"/>
                        <a:pt x="415211" y="100901"/>
                        <a:pt x="412361" y="108759"/>
                      </a:cubicBezTo>
                      <a:cubicBezTo>
                        <a:pt x="412361" y="108759"/>
                        <a:pt x="412361" y="108759"/>
                        <a:pt x="326151" y="343789"/>
                      </a:cubicBezTo>
                      <a:cubicBezTo>
                        <a:pt x="326151" y="343789"/>
                        <a:pt x="326151" y="343789"/>
                        <a:pt x="269153" y="499522"/>
                      </a:cubicBezTo>
                      <a:cubicBezTo>
                        <a:pt x="266303" y="508095"/>
                        <a:pt x="257041" y="512381"/>
                        <a:pt x="249204" y="508809"/>
                      </a:cubicBezTo>
                      <a:cubicBezTo>
                        <a:pt x="249204" y="508809"/>
                        <a:pt x="249204" y="508809"/>
                        <a:pt x="10523" y="421656"/>
                      </a:cubicBezTo>
                      <a:cubicBezTo>
                        <a:pt x="1973" y="418084"/>
                        <a:pt x="-2302" y="409511"/>
                        <a:pt x="1261" y="400939"/>
                      </a:cubicBezTo>
                      <a:cubicBezTo>
                        <a:pt x="1261" y="400939"/>
                        <a:pt x="1261" y="400939"/>
                        <a:pt x="143757" y="10176"/>
                      </a:cubicBezTo>
                      <a:cubicBezTo>
                        <a:pt x="147319" y="2317"/>
                        <a:pt x="155869" y="-1969"/>
                        <a:pt x="164418" y="8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cxnSp>
        <p:nvCxnSpPr>
          <p:cNvPr id="35" name="Straight Connector 34">
            <a:extLst>
              <a:ext uri="{FF2B5EF4-FFF2-40B4-BE49-F238E27FC236}">
                <a16:creationId xmlns:a16="http://schemas.microsoft.com/office/drawing/2014/main" id="{45D3821E-21A3-1D83-3F6B-198881FA0791}"/>
              </a:ext>
            </a:extLst>
          </p:cNvPr>
          <p:cNvCxnSpPr/>
          <p:nvPr/>
        </p:nvCxnSpPr>
        <p:spPr>
          <a:xfrm>
            <a:off x="4377840" y="2617164"/>
            <a:ext cx="7184160" cy="0"/>
          </a:xfrm>
          <a:prstGeom prst="line">
            <a:avLst/>
          </a:prstGeom>
          <a:ln w="127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26F1A88-8714-6648-9D6A-6521E7F51C0D}"/>
              </a:ext>
            </a:extLst>
          </p:cNvPr>
          <p:cNvCxnSpPr/>
          <p:nvPr/>
        </p:nvCxnSpPr>
        <p:spPr>
          <a:xfrm>
            <a:off x="4377840" y="4398465"/>
            <a:ext cx="7184160" cy="0"/>
          </a:xfrm>
          <a:prstGeom prst="line">
            <a:avLst/>
          </a:prstGeom>
          <a:ln w="127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8" name="Title 47">
            <a:extLst>
              <a:ext uri="{FF2B5EF4-FFF2-40B4-BE49-F238E27FC236}">
                <a16:creationId xmlns:a16="http://schemas.microsoft.com/office/drawing/2014/main" id="{F2E9D8FA-4E30-FC2E-9529-A9EFAAC0B75F}"/>
              </a:ext>
            </a:extLst>
          </p:cNvPr>
          <p:cNvSpPr>
            <a:spLocks noGrp="1"/>
          </p:cNvSpPr>
          <p:nvPr>
            <p:ph type="title"/>
          </p:nvPr>
        </p:nvSpPr>
        <p:spPr>
          <a:xfrm>
            <a:off x="629999" y="2764203"/>
            <a:ext cx="3227625" cy="1314311"/>
          </a:xfrm>
        </p:spPr>
        <p:txBody>
          <a:bodyPr vert="horz"/>
          <a:lstStyle/>
          <a:p>
            <a:r>
              <a:rPr lang="en-US" sz="2800" b="0" i="0" u="none" strike="noStrike">
                <a:solidFill>
                  <a:schemeClr val="bg1"/>
                </a:solidFill>
                <a:effectLst/>
                <a:latin typeface="Arial" panose="020B0604020202020204" pitchFamily="34" charset="0"/>
              </a:rPr>
              <a:t>Restrictions, eligibility, and </a:t>
            </a:r>
            <a:r>
              <a:rPr lang="en-US" sz="2800">
                <a:solidFill>
                  <a:srgbClr val="FFFFFF"/>
                </a:solidFill>
                <a:latin typeface="Arial" panose="020B0604020202020204" pitchFamily="34" charset="0"/>
              </a:rPr>
              <a:t>rules of adjudication for Tranche-3</a:t>
            </a:r>
            <a:endParaRPr lang="en-US" sz="2800"/>
          </a:p>
        </p:txBody>
      </p:sp>
      <p:grpSp>
        <p:nvGrpSpPr>
          <p:cNvPr id="51" name="Group 50">
            <a:extLst>
              <a:ext uri="{FF2B5EF4-FFF2-40B4-BE49-F238E27FC236}">
                <a16:creationId xmlns:a16="http://schemas.microsoft.com/office/drawing/2014/main" id="{71990962-7B03-1C54-EB16-5A8CD5494FD6}"/>
              </a:ext>
            </a:extLst>
          </p:cNvPr>
          <p:cNvGrpSpPr/>
          <p:nvPr/>
        </p:nvGrpSpPr>
        <p:grpSpPr>
          <a:xfrm>
            <a:off x="4377840" y="1372090"/>
            <a:ext cx="708848" cy="708846"/>
            <a:chOff x="4377840" y="285751"/>
            <a:chExt cx="708848" cy="708846"/>
          </a:xfrm>
        </p:grpSpPr>
        <p:sp>
          <p:nvSpPr>
            <p:cNvPr id="2" name="Oval 1">
              <a:extLst>
                <a:ext uri="{FF2B5EF4-FFF2-40B4-BE49-F238E27FC236}">
                  <a16:creationId xmlns:a16="http://schemas.microsoft.com/office/drawing/2014/main" id="{2F5EE174-075E-A93C-9633-64F4039118BA}"/>
                </a:ext>
              </a:extLst>
            </p:cNvPr>
            <p:cNvSpPr/>
            <p:nvPr>
              <p:custDataLst>
                <p:tags r:id="rId4"/>
              </p:custDataLst>
            </p:nvPr>
          </p:nvSpPr>
          <p:spPr>
            <a:xfrm>
              <a:off x="4377840" y="285751"/>
              <a:ext cx="708848" cy="708846"/>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lumMod val="50000"/>
                  </a:schemeClr>
                </a:solidFill>
              </a:endParaRPr>
            </a:p>
          </p:txBody>
        </p:sp>
        <p:grpSp>
          <p:nvGrpSpPr>
            <p:cNvPr id="43" name="bcgIcons_Building Blocks ">
              <a:extLst>
                <a:ext uri="{FF2B5EF4-FFF2-40B4-BE49-F238E27FC236}">
                  <a16:creationId xmlns:a16="http://schemas.microsoft.com/office/drawing/2014/main" id="{B4CF923E-B2D2-6D9C-5FB2-5E585FB45E67}"/>
                </a:ext>
              </a:extLst>
            </p:cNvPr>
            <p:cNvGrpSpPr>
              <a:grpSpLocks noChangeAspect="1"/>
            </p:cNvGrpSpPr>
            <p:nvPr/>
          </p:nvGrpSpPr>
          <p:grpSpPr bwMode="auto">
            <a:xfrm>
              <a:off x="4481881" y="389559"/>
              <a:ext cx="500765" cy="501230"/>
              <a:chOff x="1682" y="0"/>
              <a:chExt cx="4316" cy="4320"/>
            </a:xfrm>
          </p:grpSpPr>
          <p:sp>
            <p:nvSpPr>
              <p:cNvPr id="44" name="AutoShape 3">
                <a:extLst>
                  <a:ext uri="{FF2B5EF4-FFF2-40B4-BE49-F238E27FC236}">
                    <a16:creationId xmlns:a16="http://schemas.microsoft.com/office/drawing/2014/main" id="{8A4F6225-B1A1-8AB9-C5A9-C755E88DE98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5">
                <a:extLst>
                  <a:ext uri="{FF2B5EF4-FFF2-40B4-BE49-F238E27FC236}">
                    <a16:creationId xmlns:a16="http://schemas.microsoft.com/office/drawing/2014/main" id="{33D6589F-3BD9-2094-189D-FFEDE1EDF62D}"/>
                  </a:ext>
                </a:extLst>
              </p:cNvPr>
              <p:cNvSpPr>
                <a:spLocks noEditPoints="1"/>
              </p:cNvSpPr>
              <p:nvPr/>
            </p:nvSpPr>
            <p:spPr bwMode="auto">
              <a:xfrm>
                <a:off x="2579" y="889"/>
                <a:ext cx="2526" cy="2529"/>
              </a:xfrm>
              <a:custGeom>
                <a:avLst/>
                <a:gdLst>
                  <a:gd name="T0" fmla="*/ 0 w 2526"/>
                  <a:gd name="T1" fmla="*/ 2529 h 2529"/>
                  <a:gd name="T2" fmla="*/ 0 w 2526"/>
                  <a:gd name="T3" fmla="*/ 1305 h 2529"/>
                  <a:gd name="T4" fmla="*/ 1222 w 2526"/>
                  <a:gd name="T5" fmla="*/ 1305 h 2529"/>
                  <a:gd name="T6" fmla="*/ 1222 w 2526"/>
                  <a:gd name="T7" fmla="*/ 2529 h 2529"/>
                  <a:gd name="T8" fmla="*/ 0 w 2526"/>
                  <a:gd name="T9" fmla="*/ 2529 h 2529"/>
                  <a:gd name="T10" fmla="*/ 2526 w 2526"/>
                  <a:gd name="T11" fmla="*/ 2529 h 2529"/>
                  <a:gd name="T12" fmla="*/ 2526 w 2526"/>
                  <a:gd name="T13" fmla="*/ 1305 h 2529"/>
                  <a:gd name="T14" fmla="*/ 1304 w 2526"/>
                  <a:gd name="T15" fmla="*/ 1305 h 2529"/>
                  <a:gd name="T16" fmla="*/ 1304 w 2526"/>
                  <a:gd name="T17" fmla="*/ 2529 h 2529"/>
                  <a:gd name="T18" fmla="*/ 2526 w 2526"/>
                  <a:gd name="T19" fmla="*/ 2529 h 2529"/>
                  <a:gd name="T20" fmla="*/ 2526 w 2526"/>
                  <a:gd name="T21" fmla="*/ 1222 h 2529"/>
                  <a:gd name="T22" fmla="*/ 2526 w 2526"/>
                  <a:gd name="T23" fmla="*/ 0 h 2529"/>
                  <a:gd name="T24" fmla="*/ 1304 w 2526"/>
                  <a:gd name="T25" fmla="*/ 0 h 2529"/>
                  <a:gd name="T26" fmla="*/ 1304 w 2526"/>
                  <a:gd name="T27" fmla="*/ 1222 h 2529"/>
                  <a:gd name="T28" fmla="*/ 2526 w 2526"/>
                  <a:gd name="T29" fmla="*/ 1222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6" h="2529">
                    <a:moveTo>
                      <a:pt x="0" y="2529"/>
                    </a:moveTo>
                    <a:lnTo>
                      <a:pt x="0" y="1305"/>
                    </a:lnTo>
                    <a:lnTo>
                      <a:pt x="1222" y="1305"/>
                    </a:lnTo>
                    <a:lnTo>
                      <a:pt x="1222" y="2529"/>
                    </a:lnTo>
                    <a:lnTo>
                      <a:pt x="0" y="2529"/>
                    </a:lnTo>
                    <a:close/>
                    <a:moveTo>
                      <a:pt x="2526" y="2529"/>
                    </a:moveTo>
                    <a:lnTo>
                      <a:pt x="2526" y="1305"/>
                    </a:lnTo>
                    <a:lnTo>
                      <a:pt x="1304" y="1305"/>
                    </a:lnTo>
                    <a:lnTo>
                      <a:pt x="1304" y="2529"/>
                    </a:lnTo>
                    <a:lnTo>
                      <a:pt x="2526" y="2529"/>
                    </a:lnTo>
                    <a:close/>
                    <a:moveTo>
                      <a:pt x="2526" y="1222"/>
                    </a:moveTo>
                    <a:lnTo>
                      <a:pt x="2526" y="0"/>
                    </a:lnTo>
                    <a:lnTo>
                      <a:pt x="1304" y="0"/>
                    </a:lnTo>
                    <a:lnTo>
                      <a:pt x="1304" y="1222"/>
                    </a:lnTo>
                    <a:lnTo>
                      <a:pt x="2526" y="122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6">
                <a:extLst>
                  <a:ext uri="{FF2B5EF4-FFF2-40B4-BE49-F238E27FC236}">
                    <a16:creationId xmlns:a16="http://schemas.microsoft.com/office/drawing/2014/main" id="{528FDBFA-1C30-4CC5-0DCA-EE62742EEB5F}"/>
                  </a:ext>
                </a:extLst>
              </p:cNvPr>
              <p:cNvSpPr>
                <a:spLocks noEditPoints="1"/>
              </p:cNvSpPr>
              <p:nvPr/>
            </p:nvSpPr>
            <p:spPr bwMode="auto">
              <a:xfrm>
                <a:off x="2415" y="724"/>
                <a:ext cx="2854" cy="2859"/>
              </a:xfrm>
              <a:custGeom>
                <a:avLst/>
                <a:gdLst>
                  <a:gd name="T0" fmla="*/ 1502 w 1524"/>
                  <a:gd name="T1" fmla="*/ 1525 h 1525"/>
                  <a:gd name="T2" fmla="*/ 22 w 1524"/>
                  <a:gd name="T3" fmla="*/ 1525 h 1525"/>
                  <a:gd name="T4" fmla="*/ 0 w 1524"/>
                  <a:gd name="T5" fmla="*/ 1503 h 1525"/>
                  <a:gd name="T6" fmla="*/ 0 w 1524"/>
                  <a:gd name="T7" fmla="*/ 718 h 1525"/>
                  <a:gd name="T8" fmla="*/ 22 w 1524"/>
                  <a:gd name="T9" fmla="*/ 696 h 1525"/>
                  <a:gd name="T10" fmla="*/ 696 w 1524"/>
                  <a:gd name="T11" fmla="*/ 696 h 1525"/>
                  <a:gd name="T12" fmla="*/ 696 w 1524"/>
                  <a:gd name="T13" fmla="*/ 22 h 1525"/>
                  <a:gd name="T14" fmla="*/ 718 w 1524"/>
                  <a:gd name="T15" fmla="*/ 0 h 1525"/>
                  <a:gd name="T16" fmla="*/ 1502 w 1524"/>
                  <a:gd name="T17" fmla="*/ 0 h 1525"/>
                  <a:gd name="T18" fmla="*/ 1524 w 1524"/>
                  <a:gd name="T19" fmla="*/ 22 h 1525"/>
                  <a:gd name="T20" fmla="*/ 1524 w 1524"/>
                  <a:gd name="T21" fmla="*/ 1503 h 1525"/>
                  <a:gd name="T22" fmla="*/ 1502 w 1524"/>
                  <a:gd name="T23" fmla="*/ 1525 h 1525"/>
                  <a:gd name="T24" fmla="*/ 44 w 1524"/>
                  <a:gd name="T25" fmla="*/ 1481 h 1525"/>
                  <a:gd name="T26" fmla="*/ 1480 w 1524"/>
                  <a:gd name="T27" fmla="*/ 1481 h 1525"/>
                  <a:gd name="T28" fmla="*/ 1480 w 1524"/>
                  <a:gd name="T29" fmla="*/ 44 h 1525"/>
                  <a:gd name="T30" fmla="*/ 740 w 1524"/>
                  <a:gd name="T31" fmla="*/ 44 h 1525"/>
                  <a:gd name="T32" fmla="*/ 740 w 1524"/>
                  <a:gd name="T33" fmla="*/ 718 h 1525"/>
                  <a:gd name="T34" fmla="*/ 718 w 1524"/>
                  <a:gd name="T35" fmla="*/ 740 h 1525"/>
                  <a:gd name="T36" fmla="*/ 44 w 1524"/>
                  <a:gd name="T37" fmla="*/ 740 h 1525"/>
                  <a:gd name="T38" fmla="*/ 44 w 1524"/>
                  <a:gd name="T39" fmla="*/ 1481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24" h="1525">
                    <a:moveTo>
                      <a:pt x="1502" y="1525"/>
                    </a:moveTo>
                    <a:cubicBezTo>
                      <a:pt x="22" y="1525"/>
                      <a:pt x="22" y="1525"/>
                      <a:pt x="22" y="1525"/>
                    </a:cubicBezTo>
                    <a:cubicBezTo>
                      <a:pt x="10" y="1525"/>
                      <a:pt x="0" y="1515"/>
                      <a:pt x="0" y="1503"/>
                    </a:cubicBezTo>
                    <a:cubicBezTo>
                      <a:pt x="0" y="718"/>
                      <a:pt x="0" y="718"/>
                      <a:pt x="0" y="718"/>
                    </a:cubicBezTo>
                    <a:cubicBezTo>
                      <a:pt x="0" y="706"/>
                      <a:pt x="10" y="696"/>
                      <a:pt x="22" y="696"/>
                    </a:cubicBezTo>
                    <a:cubicBezTo>
                      <a:pt x="696" y="696"/>
                      <a:pt x="696" y="696"/>
                      <a:pt x="696" y="696"/>
                    </a:cubicBezTo>
                    <a:cubicBezTo>
                      <a:pt x="696" y="22"/>
                      <a:pt x="696" y="22"/>
                      <a:pt x="696" y="22"/>
                    </a:cubicBezTo>
                    <a:cubicBezTo>
                      <a:pt x="696" y="10"/>
                      <a:pt x="706" y="0"/>
                      <a:pt x="718" y="0"/>
                    </a:cubicBezTo>
                    <a:cubicBezTo>
                      <a:pt x="1502" y="0"/>
                      <a:pt x="1502" y="0"/>
                      <a:pt x="1502" y="0"/>
                    </a:cubicBezTo>
                    <a:cubicBezTo>
                      <a:pt x="1514" y="0"/>
                      <a:pt x="1524" y="10"/>
                      <a:pt x="1524" y="22"/>
                    </a:cubicBezTo>
                    <a:cubicBezTo>
                      <a:pt x="1524" y="1503"/>
                      <a:pt x="1524" y="1503"/>
                      <a:pt x="1524" y="1503"/>
                    </a:cubicBezTo>
                    <a:cubicBezTo>
                      <a:pt x="1524" y="1515"/>
                      <a:pt x="1514" y="1525"/>
                      <a:pt x="1502" y="1525"/>
                    </a:cubicBezTo>
                    <a:close/>
                    <a:moveTo>
                      <a:pt x="44" y="1481"/>
                    </a:moveTo>
                    <a:cubicBezTo>
                      <a:pt x="1480" y="1481"/>
                      <a:pt x="1480" y="1481"/>
                      <a:pt x="1480" y="1481"/>
                    </a:cubicBezTo>
                    <a:cubicBezTo>
                      <a:pt x="1480" y="44"/>
                      <a:pt x="1480" y="44"/>
                      <a:pt x="1480" y="44"/>
                    </a:cubicBezTo>
                    <a:cubicBezTo>
                      <a:pt x="740" y="44"/>
                      <a:pt x="740" y="44"/>
                      <a:pt x="740" y="44"/>
                    </a:cubicBezTo>
                    <a:cubicBezTo>
                      <a:pt x="740" y="718"/>
                      <a:pt x="740" y="718"/>
                      <a:pt x="740" y="718"/>
                    </a:cubicBezTo>
                    <a:cubicBezTo>
                      <a:pt x="740" y="730"/>
                      <a:pt x="730" y="740"/>
                      <a:pt x="718" y="740"/>
                    </a:cubicBezTo>
                    <a:cubicBezTo>
                      <a:pt x="44" y="740"/>
                      <a:pt x="44" y="740"/>
                      <a:pt x="44" y="740"/>
                    </a:cubicBezTo>
                    <a:lnTo>
                      <a:pt x="44" y="14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4" name="TextBox 33">
            <a:extLst>
              <a:ext uri="{FF2B5EF4-FFF2-40B4-BE49-F238E27FC236}">
                <a16:creationId xmlns:a16="http://schemas.microsoft.com/office/drawing/2014/main" id="{09BE5D14-5D5B-F3D0-E497-6DC6C0A1FB54}"/>
              </a:ext>
            </a:extLst>
          </p:cNvPr>
          <p:cNvSpPr txBox="1"/>
          <p:nvPr/>
        </p:nvSpPr>
        <p:spPr>
          <a:xfrm>
            <a:off x="5181600" y="4865922"/>
            <a:ext cx="6380400" cy="846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spcAft>
                <a:spcPts val="600"/>
              </a:spcAft>
              <a:defRPr/>
            </a:pPr>
            <a:r>
              <a:rPr lang="en-US" sz="1600" b="1">
                <a:solidFill>
                  <a:schemeClr val="tx2"/>
                </a:solidFill>
              </a:rPr>
              <a:t>Technology type eligibility</a:t>
            </a:r>
          </a:p>
          <a:p>
            <a:pPr marL="324000" lvl="1" indent="-216000">
              <a:spcAft>
                <a:spcPts val="300"/>
              </a:spcAft>
              <a:buClr>
                <a:schemeClr val="tx2"/>
              </a:buClr>
              <a:buFont typeface="Trebuchet MS" panose="020B0603020202020204" pitchFamily="34" charset="0"/>
              <a:buChar char="•"/>
            </a:pPr>
            <a:r>
              <a:rPr lang="en-US" sz="1400">
                <a:solidFill>
                  <a:schemeClr val="tx1"/>
                </a:solidFill>
              </a:rPr>
              <a:t>In Tranche-3, all technology type categories – Priority, Non-Priority, and Alternative – are eligible for preliminary selection</a:t>
            </a:r>
          </a:p>
        </p:txBody>
      </p:sp>
      <p:sp>
        <p:nvSpPr>
          <p:cNvPr id="37" name="Rectangle 36" hidden="1">
            <a:extLst>
              <a:ext uri="{FF2B5EF4-FFF2-40B4-BE49-F238E27FC236}">
                <a16:creationId xmlns:a16="http://schemas.microsoft.com/office/drawing/2014/main" id="{CFB2EB36-C9FC-F74C-330C-6175F84C0C33}"/>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a:solidFill>
                <a:srgbClr val="FFFFFF"/>
              </a:solidFill>
              <a:latin typeface="Trebuchet MS" panose="020B0603020202020204" pitchFamily="34" charset="0"/>
              <a:sym typeface="Trebuchet MS" panose="020B0603020202020204" pitchFamily="34" charset="0"/>
            </a:endParaRPr>
          </a:p>
        </p:txBody>
      </p:sp>
      <p:grpSp>
        <p:nvGrpSpPr>
          <p:cNvPr id="53" name="Group 52">
            <a:extLst>
              <a:ext uri="{FF2B5EF4-FFF2-40B4-BE49-F238E27FC236}">
                <a16:creationId xmlns:a16="http://schemas.microsoft.com/office/drawing/2014/main" id="{4A1960C4-28A7-6E39-0862-9349C7DCEA3D}"/>
              </a:ext>
            </a:extLst>
          </p:cNvPr>
          <p:cNvGrpSpPr/>
          <p:nvPr/>
        </p:nvGrpSpPr>
        <p:grpSpPr>
          <a:xfrm>
            <a:off x="4377841" y="4934692"/>
            <a:ext cx="708164" cy="708846"/>
            <a:chOff x="4377841" y="4360689"/>
            <a:chExt cx="708164" cy="708846"/>
          </a:xfrm>
        </p:grpSpPr>
        <p:sp>
          <p:nvSpPr>
            <p:cNvPr id="22" name="Oval 21">
              <a:extLst>
                <a:ext uri="{FF2B5EF4-FFF2-40B4-BE49-F238E27FC236}">
                  <a16:creationId xmlns:a16="http://schemas.microsoft.com/office/drawing/2014/main" id="{3724B978-EE45-CC16-0A92-D4C5B94BC75C}"/>
                </a:ext>
              </a:extLst>
            </p:cNvPr>
            <p:cNvSpPr/>
            <p:nvPr>
              <p:custDataLst>
                <p:tags r:id="rId3"/>
              </p:custDataLst>
            </p:nvPr>
          </p:nvSpPr>
          <p:spPr>
            <a:xfrm>
              <a:off x="4377841" y="4360689"/>
              <a:ext cx="708164" cy="708846"/>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a:solidFill>
                  <a:schemeClr val="bg1">
                    <a:lumMod val="50000"/>
                  </a:schemeClr>
                </a:solidFill>
              </a:endParaRPr>
            </a:p>
          </p:txBody>
        </p:sp>
        <p:grpSp>
          <p:nvGrpSpPr>
            <p:cNvPr id="39" name="bcgIcons_Internet/Web ">
              <a:extLst>
                <a:ext uri="{FF2B5EF4-FFF2-40B4-BE49-F238E27FC236}">
                  <a16:creationId xmlns:a16="http://schemas.microsoft.com/office/drawing/2014/main" id="{1ADA1E25-8E8D-5D5E-B504-645C11DDB76E}"/>
                </a:ext>
              </a:extLst>
            </p:cNvPr>
            <p:cNvGrpSpPr>
              <a:grpSpLocks noChangeAspect="1"/>
            </p:cNvGrpSpPr>
            <p:nvPr/>
          </p:nvGrpSpPr>
          <p:grpSpPr>
            <a:xfrm>
              <a:off x="4481066" y="4464496"/>
              <a:ext cx="501714" cy="501230"/>
              <a:chOff x="6464300" y="2606675"/>
              <a:chExt cx="1646238" cy="1644650"/>
            </a:xfrm>
          </p:grpSpPr>
          <p:sp>
            <p:nvSpPr>
              <p:cNvPr id="40" name="AutoShape 3">
                <a:extLst>
                  <a:ext uri="{FF2B5EF4-FFF2-40B4-BE49-F238E27FC236}">
                    <a16:creationId xmlns:a16="http://schemas.microsoft.com/office/drawing/2014/main" id="{311B7882-2354-69F1-BE1C-91E59CCE9B82}"/>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 name="Group 46">
                <a:extLst>
                  <a:ext uri="{FF2B5EF4-FFF2-40B4-BE49-F238E27FC236}">
                    <a16:creationId xmlns:a16="http://schemas.microsoft.com/office/drawing/2014/main" id="{78205838-C766-C54D-CFA0-65752B2AA437}"/>
                  </a:ext>
                </a:extLst>
              </p:cNvPr>
              <p:cNvGrpSpPr/>
              <p:nvPr/>
            </p:nvGrpSpPr>
            <p:grpSpPr>
              <a:xfrm>
                <a:off x="6634163" y="2776538"/>
                <a:ext cx="1306513" cy="1304925"/>
                <a:chOff x="6634163" y="2776538"/>
                <a:chExt cx="1306513" cy="1304925"/>
              </a:xfrm>
            </p:grpSpPr>
            <p:sp>
              <p:nvSpPr>
                <p:cNvPr id="49" name="Freeform 12">
                  <a:extLst>
                    <a:ext uri="{FF2B5EF4-FFF2-40B4-BE49-F238E27FC236}">
                      <a16:creationId xmlns:a16="http://schemas.microsoft.com/office/drawing/2014/main" id="{B5F6EF49-A040-A858-F19C-8495E9E7C56C}"/>
                    </a:ext>
                  </a:extLst>
                </p:cNvPr>
                <p:cNvSpPr>
                  <a:spLocks/>
                </p:cNvSpPr>
                <p:nvPr/>
              </p:nvSpPr>
              <p:spPr bwMode="auto">
                <a:xfrm>
                  <a:off x="6697663" y="2838450"/>
                  <a:ext cx="1179513" cy="1179513"/>
                </a:xfrm>
                <a:custGeom>
                  <a:avLst/>
                  <a:gdLst>
                    <a:gd name="connsiteX0" fmla="*/ 879944 w 1179513"/>
                    <a:gd name="connsiteY0" fmla="*/ 1017588 h 1179513"/>
                    <a:gd name="connsiteX1" fmla="*/ 869939 w 1179513"/>
                    <a:gd name="connsiteY1" fmla="*/ 1047033 h 1179513"/>
                    <a:gd name="connsiteX2" fmla="*/ 883517 w 1179513"/>
                    <a:gd name="connsiteY2" fmla="*/ 1080786 h 1179513"/>
                    <a:gd name="connsiteX3" fmla="*/ 898525 w 1179513"/>
                    <a:gd name="connsiteY3" fmla="*/ 1090840 h 1179513"/>
                    <a:gd name="connsiteX4" fmla="*/ 704850 w 1179513"/>
                    <a:gd name="connsiteY4" fmla="*/ 1168401 h 1179513"/>
                    <a:gd name="connsiteX5" fmla="*/ 769885 w 1179513"/>
                    <a:gd name="connsiteY5" fmla="*/ 1114539 h 1179513"/>
                    <a:gd name="connsiteX6" fmla="*/ 842781 w 1179513"/>
                    <a:gd name="connsiteY6" fmla="*/ 1022615 h 1179513"/>
                    <a:gd name="connsiteX7" fmla="*/ 855645 w 1179513"/>
                    <a:gd name="connsiteY7" fmla="*/ 1024770 h 1179513"/>
                    <a:gd name="connsiteX8" fmla="*/ 879944 w 1179513"/>
                    <a:gd name="connsiteY8" fmla="*/ 1017588 h 1179513"/>
                    <a:gd name="connsiteX9" fmla="*/ 262876 w 1179513"/>
                    <a:gd name="connsiteY9" fmla="*/ 950913 h 1179513"/>
                    <a:gd name="connsiteX10" fmla="*/ 264307 w 1179513"/>
                    <a:gd name="connsiteY10" fmla="*/ 954490 h 1179513"/>
                    <a:gd name="connsiteX11" fmla="*/ 309383 w 1179513"/>
                    <a:gd name="connsiteY11" fmla="*/ 974522 h 1179513"/>
                    <a:gd name="connsiteX12" fmla="*/ 311530 w 1179513"/>
                    <a:gd name="connsiteY12" fmla="*/ 974522 h 1179513"/>
                    <a:gd name="connsiteX13" fmla="*/ 312961 w 1179513"/>
                    <a:gd name="connsiteY13" fmla="*/ 975953 h 1179513"/>
                    <a:gd name="connsiteX14" fmla="*/ 411699 w 1179513"/>
                    <a:gd name="connsiteY14" fmla="*/ 1118322 h 1179513"/>
                    <a:gd name="connsiteX15" fmla="*/ 474662 w 1179513"/>
                    <a:gd name="connsiteY15" fmla="*/ 1168401 h 1179513"/>
                    <a:gd name="connsiteX16" fmla="*/ 169862 w 1179513"/>
                    <a:gd name="connsiteY16" fmla="*/ 1003139 h 1179513"/>
                    <a:gd name="connsiteX17" fmla="*/ 259299 w 1179513"/>
                    <a:gd name="connsiteY17" fmla="*/ 953059 h 1179513"/>
                    <a:gd name="connsiteX18" fmla="*/ 262876 w 1179513"/>
                    <a:gd name="connsiteY18" fmla="*/ 950913 h 1179513"/>
                    <a:gd name="connsiteX19" fmla="*/ 626998 w 1179513"/>
                    <a:gd name="connsiteY19" fmla="*/ 903288 h 1179513"/>
                    <a:gd name="connsiteX20" fmla="*/ 630581 w 1179513"/>
                    <a:gd name="connsiteY20" fmla="*/ 903288 h 1179513"/>
                    <a:gd name="connsiteX21" fmla="*/ 745956 w 1179513"/>
                    <a:gd name="connsiteY21" fmla="*/ 910426 h 1179513"/>
                    <a:gd name="connsiteX22" fmla="*/ 759572 w 1179513"/>
                    <a:gd name="connsiteY22" fmla="*/ 941831 h 1179513"/>
                    <a:gd name="connsiteX23" fmla="*/ 793253 w 1179513"/>
                    <a:gd name="connsiteY23" fmla="*/ 956106 h 1179513"/>
                    <a:gd name="connsiteX24" fmla="*/ 821917 w 1179513"/>
                    <a:gd name="connsiteY24" fmla="*/ 946114 h 1179513"/>
                    <a:gd name="connsiteX25" fmla="*/ 822634 w 1179513"/>
                    <a:gd name="connsiteY25" fmla="*/ 1010352 h 1179513"/>
                    <a:gd name="connsiteX26" fmla="*/ 825500 w 1179513"/>
                    <a:gd name="connsiteY26" fmla="*/ 1013207 h 1179513"/>
                    <a:gd name="connsiteX27" fmla="*/ 758855 w 1179513"/>
                    <a:gd name="connsiteY27" fmla="*/ 1098145 h 1179513"/>
                    <a:gd name="connsiteX28" fmla="*/ 644197 w 1179513"/>
                    <a:gd name="connsiteY28" fmla="*/ 1175944 h 1179513"/>
                    <a:gd name="connsiteX29" fmla="*/ 596900 w 1179513"/>
                    <a:gd name="connsiteY29" fmla="*/ 1179513 h 1179513"/>
                    <a:gd name="connsiteX30" fmla="*/ 596900 w 1179513"/>
                    <a:gd name="connsiteY30" fmla="*/ 936121 h 1179513"/>
                    <a:gd name="connsiteX31" fmla="*/ 599050 w 1179513"/>
                    <a:gd name="connsiteY31" fmla="*/ 936121 h 1179513"/>
                    <a:gd name="connsiteX32" fmla="*/ 626998 w 1179513"/>
                    <a:gd name="connsiteY32" fmla="*/ 904716 h 1179513"/>
                    <a:gd name="connsiteX33" fmla="*/ 626998 w 1179513"/>
                    <a:gd name="connsiteY33" fmla="*/ 903288 h 1179513"/>
                    <a:gd name="connsiteX34" fmla="*/ 543242 w 1179513"/>
                    <a:gd name="connsiteY34" fmla="*/ 903288 h 1179513"/>
                    <a:gd name="connsiteX35" fmla="*/ 546114 w 1179513"/>
                    <a:gd name="connsiteY35" fmla="*/ 903288 h 1179513"/>
                    <a:gd name="connsiteX36" fmla="*/ 546114 w 1179513"/>
                    <a:gd name="connsiteY36" fmla="*/ 904716 h 1179513"/>
                    <a:gd name="connsiteX37" fmla="*/ 574827 w 1179513"/>
                    <a:gd name="connsiteY37" fmla="*/ 936121 h 1179513"/>
                    <a:gd name="connsiteX38" fmla="*/ 576262 w 1179513"/>
                    <a:gd name="connsiteY38" fmla="*/ 936121 h 1179513"/>
                    <a:gd name="connsiteX39" fmla="*/ 576262 w 1179513"/>
                    <a:gd name="connsiteY39" fmla="*/ 1179513 h 1179513"/>
                    <a:gd name="connsiteX40" fmla="*/ 536064 w 1179513"/>
                    <a:gd name="connsiteY40" fmla="*/ 1175944 h 1179513"/>
                    <a:gd name="connsiteX41" fmla="*/ 424083 w 1179513"/>
                    <a:gd name="connsiteY41" fmla="*/ 1099572 h 1179513"/>
                    <a:gd name="connsiteX42" fmla="*/ 330766 w 1179513"/>
                    <a:gd name="connsiteY42" fmla="*/ 964671 h 1179513"/>
                    <a:gd name="connsiteX43" fmla="*/ 328612 w 1179513"/>
                    <a:gd name="connsiteY43" fmla="*/ 963244 h 1179513"/>
                    <a:gd name="connsiteX44" fmla="*/ 330766 w 1179513"/>
                    <a:gd name="connsiteY44" fmla="*/ 961103 h 1179513"/>
                    <a:gd name="connsiteX45" fmla="*/ 340815 w 1179513"/>
                    <a:gd name="connsiteY45" fmla="*/ 931125 h 1179513"/>
                    <a:gd name="connsiteX46" fmla="*/ 340815 w 1179513"/>
                    <a:gd name="connsiteY46" fmla="*/ 928270 h 1179513"/>
                    <a:gd name="connsiteX47" fmla="*/ 343687 w 1179513"/>
                    <a:gd name="connsiteY47" fmla="*/ 926128 h 1179513"/>
                    <a:gd name="connsiteX48" fmla="*/ 543242 w 1179513"/>
                    <a:gd name="connsiteY48" fmla="*/ 903288 h 1179513"/>
                    <a:gd name="connsiteX49" fmla="*/ 988495 w 1179513"/>
                    <a:gd name="connsiteY49" fmla="*/ 879475 h 1179513"/>
                    <a:gd name="connsiteX50" fmla="*/ 1046163 w 1179513"/>
                    <a:gd name="connsiteY50" fmla="*/ 887035 h 1179513"/>
                    <a:gd name="connsiteX51" fmla="*/ 988495 w 1179513"/>
                    <a:gd name="connsiteY51" fmla="*/ 880231 h 1179513"/>
                    <a:gd name="connsiteX52" fmla="*/ 920734 w 1179513"/>
                    <a:gd name="connsiteY52" fmla="*/ 890058 h 1179513"/>
                    <a:gd name="connsiteX53" fmla="*/ 904875 w 1179513"/>
                    <a:gd name="connsiteY53" fmla="*/ 895350 h 1179513"/>
                    <a:gd name="connsiteX54" fmla="*/ 922176 w 1179513"/>
                    <a:gd name="connsiteY54" fmla="*/ 889303 h 1179513"/>
                    <a:gd name="connsiteX55" fmla="*/ 988495 w 1179513"/>
                    <a:gd name="connsiteY55" fmla="*/ 879475 h 1179513"/>
                    <a:gd name="connsiteX56" fmla="*/ 975138 w 1179513"/>
                    <a:gd name="connsiteY56" fmla="*/ 588963 h 1179513"/>
                    <a:gd name="connsiteX57" fmla="*/ 1179513 w 1179513"/>
                    <a:gd name="connsiteY57" fmla="*/ 588963 h 1179513"/>
                    <a:gd name="connsiteX58" fmla="*/ 1179513 w 1179513"/>
                    <a:gd name="connsiteY58" fmla="*/ 590384 h 1179513"/>
                    <a:gd name="connsiteX59" fmla="*/ 1133226 w 1179513"/>
                    <a:gd name="connsiteY59" fmla="*/ 819151 h 1179513"/>
                    <a:gd name="connsiteX60" fmla="*/ 987956 w 1179513"/>
                    <a:gd name="connsiteY60" fmla="*/ 785049 h 1179513"/>
                    <a:gd name="connsiteX61" fmla="*/ 930275 w 1179513"/>
                    <a:gd name="connsiteY61" fmla="*/ 790733 h 1179513"/>
                    <a:gd name="connsiteX62" fmla="*/ 948790 w 1179513"/>
                    <a:gd name="connsiteY62" fmla="*/ 620223 h 1179513"/>
                    <a:gd name="connsiteX63" fmla="*/ 948790 w 1179513"/>
                    <a:gd name="connsiteY63" fmla="*/ 616671 h 1179513"/>
                    <a:gd name="connsiteX64" fmla="*/ 950214 w 1179513"/>
                    <a:gd name="connsiteY64" fmla="*/ 616671 h 1179513"/>
                    <a:gd name="connsiteX65" fmla="*/ 973714 w 1179513"/>
                    <a:gd name="connsiteY65" fmla="*/ 591805 h 1179513"/>
                    <a:gd name="connsiteX66" fmla="*/ 975138 w 1179513"/>
                    <a:gd name="connsiteY66" fmla="*/ 588963 h 1179513"/>
                    <a:gd name="connsiteX67" fmla="*/ 626918 w 1179513"/>
                    <a:gd name="connsiteY67" fmla="*/ 588963 h 1179513"/>
                    <a:gd name="connsiteX68" fmla="*/ 895653 w 1179513"/>
                    <a:gd name="connsiteY68" fmla="*/ 588963 h 1179513"/>
                    <a:gd name="connsiteX69" fmla="*/ 895653 w 1179513"/>
                    <a:gd name="connsiteY69" fmla="*/ 591814 h 1179513"/>
                    <a:gd name="connsiteX70" fmla="*/ 925671 w 1179513"/>
                    <a:gd name="connsiteY70" fmla="*/ 618896 h 1179513"/>
                    <a:gd name="connsiteX71" fmla="*/ 927100 w 1179513"/>
                    <a:gd name="connsiteY71" fmla="*/ 618896 h 1179513"/>
                    <a:gd name="connsiteX72" fmla="*/ 927100 w 1179513"/>
                    <a:gd name="connsiteY72" fmla="*/ 621746 h 1179513"/>
                    <a:gd name="connsiteX73" fmla="*/ 907803 w 1179513"/>
                    <a:gd name="connsiteY73" fmla="*/ 795640 h 1179513"/>
                    <a:gd name="connsiteX74" fmla="*/ 894223 w 1179513"/>
                    <a:gd name="connsiteY74" fmla="*/ 799916 h 1179513"/>
                    <a:gd name="connsiteX75" fmla="*/ 759856 w 1179513"/>
                    <a:gd name="connsiteY75" fmla="*/ 875460 h 1179513"/>
                    <a:gd name="connsiteX76" fmla="*/ 749850 w 1179513"/>
                    <a:gd name="connsiteY76" fmla="*/ 889001 h 1179513"/>
                    <a:gd name="connsiteX77" fmla="*/ 629063 w 1179513"/>
                    <a:gd name="connsiteY77" fmla="*/ 881162 h 1179513"/>
                    <a:gd name="connsiteX78" fmla="*/ 626918 w 1179513"/>
                    <a:gd name="connsiteY78" fmla="*/ 881162 h 1179513"/>
                    <a:gd name="connsiteX79" fmla="*/ 625489 w 1179513"/>
                    <a:gd name="connsiteY79" fmla="*/ 878311 h 1179513"/>
                    <a:gd name="connsiteX80" fmla="*/ 599044 w 1179513"/>
                    <a:gd name="connsiteY80" fmla="*/ 853367 h 1179513"/>
                    <a:gd name="connsiteX81" fmla="*/ 596900 w 1179513"/>
                    <a:gd name="connsiteY81" fmla="*/ 851229 h 1179513"/>
                    <a:gd name="connsiteX82" fmla="*/ 596900 w 1179513"/>
                    <a:gd name="connsiteY82" fmla="*/ 618896 h 1179513"/>
                    <a:gd name="connsiteX83" fmla="*/ 599044 w 1179513"/>
                    <a:gd name="connsiteY83" fmla="*/ 616758 h 1179513"/>
                    <a:gd name="connsiteX84" fmla="*/ 625489 w 1179513"/>
                    <a:gd name="connsiteY84" fmla="*/ 591814 h 1179513"/>
                    <a:gd name="connsiteX85" fmla="*/ 626918 w 1179513"/>
                    <a:gd name="connsiteY85" fmla="*/ 588963 h 1179513"/>
                    <a:gd name="connsiteX86" fmla="*/ 282272 w 1179513"/>
                    <a:gd name="connsiteY86" fmla="*/ 588963 h 1179513"/>
                    <a:gd name="connsiteX87" fmla="*/ 548298 w 1179513"/>
                    <a:gd name="connsiteY87" fmla="*/ 588963 h 1179513"/>
                    <a:gd name="connsiteX88" fmla="*/ 548298 w 1179513"/>
                    <a:gd name="connsiteY88" fmla="*/ 591817 h 1179513"/>
                    <a:gd name="connsiteX89" fmla="*/ 574829 w 1179513"/>
                    <a:gd name="connsiteY89" fmla="*/ 616789 h 1179513"/>
                    <a:gd name="connsiteX90" fmla="*/ 576263 w 1179513"/>
                    <a:gd name="connsiteY90" fmla="*/ 618929 h 1179513"/>
                    <a:gd name="connsiteX91" fmla="*/ 576263 w 1179513"/>
                    <a:gd name="connsiteY91" fmla="*/ 851525 h 1179513"/>
                    <a:gd name="connsiteX92" fmla="*/ 574829 w 1179513"/>
                    <a:gd name="connsiteY92" fmla="*/ 853665 h 1179513"/>
                    <a:gd name="connsiteX93" fmla="*/ 548298 w 1179513"/>
                    <a:gd name="connsiteY93" fmla="*/ 878637 h 1179513"/>
                    <a:gd name="connsiteX94" fmla="*/ 548298 w 1179513"/>
                    <a:gd name="connsiteY94" fmla="*/ 881491 h 1179513"/>
                    <a:gd name="connsiteX95" fmla="*/ 544713 w 1179513"/>
                    <a:gd name="connsiteY95" fmla="*/ 881491 h 1179513"/>
                    <a:gd name="connsiteX96" fmla="*/ 336051 w 1179513"/>
                    <a:gd name="connsiteY96" fmla="*/ 906463 h 1179513"/>
                    <a:gd name="connsiteX97" fmla="*/ 333900 w 1179513"/>
                    <a:gd name="connsiteY97" fmla="*/ 906463 h 1179513"/>
                    <a:gd name="connsiteX98" fmla="*/ 332466 w 1179513"/>
                    <a:gd name="connsiteY98" fmla="*/ 905036 h 1179513"/>
                    <a:gd name="connsiteX99" fmla="*/ 302350 w 1179513"/>
                    <a:gd name="connsiteY99" fmla="*/ 888626 h 1179513"/>
                    <a:gd name="connsiteX100" fmla="*/ 300915 w 1179513"/>
                    <a:gd name="connsiteY100" fmla="*/ 888626 h 1179513"/>
                    <a:gd name="connsiteX101" fmla="*/ 298764 w 1179513"/>
                    <a:gd name="connsiteY101" fmla="*/ 886486 h 1179513"/>
                    <a:gd name="connsiteX102" fmla="*/ 257175 w 1179513"/>
                    <a:gd name="connsiteY102" fmla="*/ 618929 h 1179513"/>
                    <a:gd name="connsiteX103" fmla="*/ 257175 w 1179513"/>
                    <a:gd name="connsiteY103" fmla="*/ 616789 h 1179513"/>
                    <a:gd name="connsiteX104" fmla="*/ 258609 w 1179513"/>
                    <a:gd name="connsiteY104" fmla="*/ 615362 h 1179513"/>
                    <a:gd name="connsiteX105" fmla="*/ 282272 w 1179513"/>
                    <a:gd name="connsiteY105" fmla="*/ 591817 h 1179513"/>
                    <a:gd name="connsiteX106" fmla="*/ 282272 w 1179513"/>
                    <a:gd name="connsiteY106" fmla="*/ 588963 h 1179513"/>
                    <a:gd name="connsiteX107" fmla="*/ 0 w 1179513"/>
                    <a:gd name="connsiteY107" fmla="*/ 588963 h 1179513"/>
                    <a:gd name="connsiteX108" fmla="*/ 202940 w 1179513"/>
                    <a:gd name="connsiteY108" fmla="*/ 588963 h 1179513"/>
                    <a:gd name="connsiteX109" fmla="*/ 205084 w 1179513"/>
                    <a:gd name="connsiteY109" fmla="*/ 591813 h 1179513"/>
                    <a:gd name="connsiteX110" fmla="*/ 235096 w 1179513"/>
                    <a:gd name="connsiteY110" fmla="*/ 618889 h 1179513"/>
                    <a:gd name="connsiteX111" fmla="*/ 237954 w 1179513"/>
                    <a:gd name="connsiteY111" fmla="*/ 620314 h 1179513"/>
                    <a:gd name="connsiteX112" fmla="*/ 237954 w 1179513"/>
                    <a:gd name="connsiteY112" fmla="*/ 621739 h 1179513"/>
                    <a:gd name="connsiteX113" fmla="*/ 279400 w 1179513"/>
                    <a:gd name="connsiteY113" fmla="*/ 891073 h 1179513"/>
                    <a:gd name="connsiteX114" fmla="*/ 279400 w 1179513"/>
                    <a:gd name="connsiteY114" fmla="*/ 893210 h 1179513"/>
                    <a:gd name="connsiteX115" fmla="*/ 277971 w 1179513"/>
                    <a:gd name="connsiteY115" fmla="*/ 894635 h 1179513"/>
                    <a:gd name="connsiteX116" fmla="*/ 257963 w 1179513"/>
                    <a:gd name="connsiteY116" fmla="*/ 928124 h 1179513"/>
                    <a:gd name="connsiteX117" fmla="*/ 257963 w 1179513"/>
                    <a:gd name="connsiteY117" fmla="*/ 929549 h 1179513"/>
                    <a:gd name="connsiteX118" fmla="*/ 256533 w 1179513"/>
                    <a:gd name="connsiteY118" fmla="*/ 930974 h 1179513"/>
                    <a:gd name="connsiteX119" fmla="*/ 155063 w 1179513"/>
                    <a:gd name="connsiteY119" fmla="*/ 985838 h 1179513"/>
                    <a:gd name="connsiteX120" fmla="*/ 0 w 1179513"/>
                    <a:gd name="connsiteY120" fmla="*/ 590388 h 1179513"/>
                    <a:gd name="connsiteX121" fmla="*/ 0 w 1179513"/>
                    <a:gd name="connsiteY121" fmla="*/ 588963 h 1179513"/>
                    <a:gd name="connsiteX122" fmla="*/ 832043 w 1179513"/>
                    <a:gd name="connsiteY122" fmla="*/ 258763 h 1179513"/>
                    <a:gd name="connsiteX123" fmla="*/ 833472 w 1179513"/>
                    <a:gd name="connsiteY123" fmla="*/ 258763 h 1179513"/>
                    <a:gd name="connsiteX124" fmla="*/ 835616 w 1179513"/>
                    <a:gd name="connsiteY124" fmla="*/ 260192 h 1179513"/>
                    <a:gd name="connsiteX125" fmla="*/ 882073 w 1179513"/>
                    <a:gd name="connsiteY125" fmla="*/ 281629 h 1179513"/>
                    <a:gd name="connsiteX126" fmla="*/ 885647 w 1179513"/>
                    <a:gd name="connsiteY126" fmla="*/ 280200 h 1179513"/>
                    <a:gd name="connsiteX127" fmla="*/ 885647 w 1179513"/>
                    <a:gd name="connsiteY127" fmla="*/ 283773 h 1179513"/>
                    <a:gd name="connsiteX128" fmla="*/ 927100 w 1179513"/>
                    <a:gd name="connsiteY128" fmla="*/ 530296 h 1179513"/>
                    <a:gd name="connsiteX129" fmla="*/ 927100 w 1179513"/>
                    <a:gd name="connsiteY129" fmla="*/ 533868 h 1179513"/>
                    <a:gd name="connsiteX130" fmla="*/ 925671 w 1179513"/>
                    <a:gd name="connsiteY130" fmla="*/ 533868 h 1179513"/>
                    <a:gd name="connsiteX131" fmla="*/ 893508 w 1179513"/>
                    <a:gd name="connsiteY131" fmla="*/ 565309 h 1179513"/>
                    <a:gd name="connsiteX132" fmla="*/ 893508 w 1179513"/>
                    <a:gd name="connsiteY132" fmla="*/ 566738 h 1179513"/>
                    <a:gd name="connsiteX133" fmla="*/ 626918 w 1179513"/>
                    <a:gd name="connsiteY133" fmla="*/ 566738 h 1179513"/>
                    <a:gd name="connsiteX134" fmla="*/ 626918 w 1179513"/>
                    <a:gd name="connsiteY134" fmla="*/ 565309 h 1179513"/>
                    <a:gd name="connsiteX135" fmla="*/ 599044 w 1179513"/>
                    <a:gd name="connsiteY135" fmla="*/ 533868 h 1179513"/>
                    <a:gd name="connsiteX136" fmla="*/ 596900 w 1179513"/>
                    <a:gd name="connsiteY136" fmla="*/ 533868 h 1179513"/>
                    <a:gd name="connsiteX137" fmla="*/ 596900 w 1179513"/>
                    <a:gd name="connsiteY137" fmla="*/ 313784 h 1179513"/>
                    <a:gd name="connsiteX138" fmla="*/ 599044 w 1179513"/>
                    <a:gd name="connsiteY138" fmla="*/ 311641 h 1179513"/>
                    <a:gd name="connsiteX139" fmla="*/ 626918 w 1179513"/>
                    <a:gd name="connsiteY139" fmla="*/ 283773 h 1179513"/>
                    <a:gd name="connsiteX140" fmla="*/ 626918 w 1179513"/>
                    <a:gd name="connsiteY140" fmla="*/ 280200 h 1179513"/>
                    <a:gd name="connsiteX141" fmla="*/ 630492 w 1179513"/>
                    <a:gd name="connsiteY141" fmla="*/ 280200 h 1179513"/>
                    <a:gd name="connsiteX142" fmla="*/ 832043 w 1179513"/>
                    <a:gd name="connsiteY142" fmla="*/ 258763 h 1179513"/>
                    <a:gd name="connsiteX143" fmla="*/ 336051 w 1179513"/>
                    <a:gd name="connsiteY143" fmla="*/ 255588 h 1179513"/>
                    <a:gd name="connsiteX144" fmla="*/ 337485 w 1179513"/>
                    <a:gd name="connsiteY144" fmla="*/ 255588 h 1179513"/>
                    <a:gd name="connsiteX145" fmla="*/ 544713 w 1179513"/>
                    <a:gd name="connsiteY145" fmla="*/ 280566 h 1179513"/>
                    <a:gd name="connsiteX146" fmla="*/ 546147 w 1179513"/>
                    <a:gd name="connsiteY146" fmla="*/ 280566 h 1179513"/>
                    <a:gd name="connsiteX147" fmla="*/ 548298 w 1179513"/>
                    <a:gd name="connsiteY147" fmla="*/ 281993 h 1179513"/>
                    <a:gd name="connsiteX148" fmla="*/ 574829 w 1179513"/>
                    <a:gd name="connsiteY148" fmla="*/ 311966 h 1179513"/>
                    <a:gd name="connsiteX149" fmla="*/ 576263 w 1179513"/>
                    <a:gd name="connsiteY149" fmla="*/ 314107 h 1179513"/>
                    <a:gd name="connsiteX150" fmla="*/ 576263 w 1179513"/>
                    <a:gd name="connsiteY150" fmla="*/ 533910 h 1179513"/>
                    <a:gd name="connsiteX151" fmla="*/ 574829 w 1179513"/>
                    <a:gd name="connsiteY151" fmla="*/ 533910 h 1179513"/>
                    <a:gd name="connsiteX152" fmla="*/ 546147 w 1179513"/>
                    <a:gd name="connsiteY152" fmla="*/ 565311 h 1179513"/>
                    <a:gd name="connsiteX153" fmla="*/ 546147 w 1179513"/>
                    <a:gd name="connsiteY153" fmla="*/ 566738 h 1179513"/>
                    <a:gd name="connsiteX154" fmla="*/ 283706 w 1179513"/>
                    <a:gd name="connsiteY154" fmla="*/ 566738 h 1179513"/>
                    <a:gd name="connsiteX155" fmla="*/ 283706 w 1179513"/>
                    <a:gd name="connsiteY155" fmla="*/ 565311 h 1179513"/>
                    <a:gd name="connsiteX156" fmla="*/ 260761 w 1179513"/>
                    <a:gd name="connsiteY156" fmla="*/ 536765 h 1179513"/>
                    <a:gd name="connsiteX157" fmla="*/ 257175 w 1179513"/>
                    <a:gd name="connsiteY157" fmla="*/ 535338 h 1179513"/>
                    <a:gd name="connsiteX158" fmla="*/ 257175 w 1179513"/>
                    <a:gd name="connsiteY158" fmla="*/ 533910 h 1179513"/>
                    <a:gd name="connsiteX159" fmla="*/ 298764 w 1179513"/>
                    <a:gd name="connsiteY159" fmla="*/ 279138 h 1179513"/>
                    <a:gd name="connsiteX160" fmla="*/ 298764 w 1179513"/>
                    <a:gd name="connsiteY160" fmla="*/ 276998 h 1179513"/>
                    <a:gd name="connsiteX161" fmla="*/ 302350 w 1179513"/>
                    <a:gd name="connsiteY161" fmla="*/ 276998 h 1179513"/>
                    <a:gd name="connsiteX162" fmla="*/ 333900 w 1179513"/>
                    <a:gd name="connsiteY162" fmla="*/ 257015 h 1179513"/>
                    <a:gd name="connsiteX163" fmla="*/ 336051 w 1179513"/>
                    <a:gd name="connsiteY163" fmla="*/ 255588 h 1179513"/>
                    <a:gd name="connsiteX164" fmla="*/ 1019471 w 1179513"/>
                    <a:gd name="connsiteY164" fmla="*/ 187325 h 1179513"/>
                    <a:gd name="connsiteX165" fmla="*/ 1177925 w 1179513"/>
                    <a:gd name="connsiteY165" fmla="*/ 566738 h 1179513"/>
                    <a:gd name="connsiteX166" fmla="*/ 974504 w 1179513"/>
                    <a:gd name="connsiteY166" fmla="*/ 566738 h 1179513"/>
                    <a:gd name="connsiteX167" fmla="*/ 974504 w 1179513"/>
                    <a:gd name="connsiteY167" fmla="*/ 565312 h 1179513"/>
                    <a:gd name="connsiteX168" fmla="*/ 949522 w 1179513"/>
                    <a:gd name="connsiteY168" fmla="*/ 535358 h 1179513"/>
                    <a:gd name="connsiteX169" fmla="*/ 948095 w 1179513"/>
                    <a:gd name="connsiteY169" fmla="*/ 533932 h 1179513"/>
                    <a:gd name="connsiteX170" fmla="*/ 948095 w 1179513"/>
                    <a:gd name="connsiteY170" fmla="*/ 531792 h 1179513"/>
                    <a:gd name="connsiteX171" fmla="*/ 903128 w 1179513"/>
                    <a:gd name="connsiteY171" fmla="*/ 270767 h 1179513"/>
                    <a:gd name="connsiteX172" fmla="*/ 901700 w 1179513"/>
                    <a:gd name="connsiteY172" fmla="*/ 269341 h 1179513"/>
                    <a:gd name="connsiteX173" fmla="*/ 903128 w 1179513"/>
                    <a:gd name="connsiteY173" fmla="*/ 267202 h 1179513"/>
                    <a:gd name="connsiteX174" fmla="*/ 913120 w 1179513"/>
                    <a:gd name="connsiteY174" fmla="*/ 239387 h 1179513"/>
                    <a:gd name="connsiteX175" fmla="*/ 913120 w 1179513"/>
                    <a:gd name="connsiteY175" fmla="*/ 237248 h 1179513"/>
                    <a:gd name="connsiteX176" fmla="*/ 916689 w 1179513"/>
                    <a:gd name="connsiteY176" fmla="*/ 235821 h 1179513"/>
                    <a:gd name="connsiteX177" fmla="*/ 1019471 w 1179513"/>
                    <a:gd name="connsiteY177" fmla="*/ 187325 h 1179513"/>
                    <a:gd name="connsiteX178" fmla="*/ 165132 w 1179513"/>
                    <a:gd name="connsiteY178" fmla="*/ 180975 h 1179513"/>
                    <a:gd name="connsiteX179" fmla="*/ 256546 w 1179513"/>
                    <a:gd name="connsiteY179" fmla="*/ 229643 h 1179513"/>
                    <a:gd name="connsiteX180" fmla="*/ 257975 w 1179513"/>
                    <a:gd name="connsiteY180" fmla="*/ 229643 h 1179513"/>
                    <a:gd name="connsiteX181" fmla="*/ 257975 w 1179513"/>
                    <a:gd name="connsiteY181" fmla="*/ 233221 h 1179513"/>
                    <a:gd name="connsiteX182" fmla="*/ 277972 w 1179513"/>
                    <a:gd name="connsiteY182" fmla="*/ 269722 h 1179513"/>
                    <a:gd name="connsiteX183" fmla="*/ 279400 w 1179513"/>
                    <a:gd name="connsiteY183" fmla="*/ 269722 h 1179513"/>
                    <a:gd name="connsiteX184" fmla="*/ 279400 w 1179513"/>
                    <a:gd name="connsiteY184" fmla="*/ 273301 h 1179513"/>
                    <a:gd name="connsiteX185" fmla="*/ 237978 w 1179513"/>
                    <a:gd name="connsiteY185" fmla="*/ 530237 h 1179513"/>
                    <a:gd name="connsiteX186" fmla="*/ 237978 w 1179513"/>
                    <a:gd name="connsiteY186" fmla="*/ 531669 h 1179513"/>
                    <a:gd name="connsiteX187" fmla="*/ 235121 w 1179513"/>
                    <a:gd name="connsiteY187" fmla="*/ 533816 h 1179513"/>
                    <a:gd name="connsiteX188" fmla="*/ 202983 w 1179513"/>
                    <a:gd name="connsiteY188" fmla="*/ 565307 h 1179513"/>
                    <a:gd name="connsiteX189" fmla="*/ 201555 w 1179513"/>
                    <a:gd name="connsiteY189" fmla="*/ 566738 h 1179513"/>
                    <a:gd name="connsiteX190" fmla="*/ 1587 w 1179513"/>
                    <a:gd name="connsiteY190" fmla="*/ 566738 h 1179513"/>
                    <a:gd name="connsiteX191" fmla="*/ 165132 w 1179513"/>
                    <a:gd name="connsiteY191" fmla="*/ 180975 h 1179513"/>
                    <a:gd name="connsiteX192" fmla="*/ 458787 w 1179513"/>
                    <a:gd name="connsiteY192" fmla="*/ 14288 h 1179513"/>
                    <a:gd name="connsiteX193" fmla="*/ 410911 w 1179513"/>
                    <a:gd name="connsiteY193" fmla="*/ 51920 h 1179513"/>
                    <a:gd name="connsiteX194" fmla="*/ 312299 w 1179513"/>
                    <a:gd name="connsiteY194" fmla="*/ 188249 h 1179513"/>
                    <a:gd name="connsiteX195" fmla="*/ 310870 w 1179513"/>
                    <a:gd name="connsiteY195" fmla="*/ 189670 h 1179513"/>
                    <a:gd name="connsiteX196" fmla="*/ 308726 w 1179513"/>
                    <a:gd name="connsiteY196" fmla="*/ 189670 h 1179513"/>
                    <a:gd name="connsiteX197" fmla="*/ 265851 w 1179513"/>
                    <a:gd name="connsiteY197" fmla="*/ 206001 h 1179513"/>
                    <a:gd name="connsiteX198" fmla="*/ 263707 w 1179513"/>
                    <a:gd name="connsiteY198" fmla="*/ 209551 h 1179513"/>
                    <a:gd name="connsiteX199" fmla="*/ 260849 w 1179513"/>
                    <a:gd name="connsiteY199" fmla="*/ 208131 h 1179513"/>
                    <a:gd name="connsiteX200" fmla="*/ 179387 w 1179513"/>
                    <a:gd name="connsiteY200" fmla="*/ 164818 h 1179513"/>
                    <a:gd name="connsiteX201" fmla="*/ 458787 w 1179513"/>
                    <a:gd name="connsiteY201" fmla="*/ 14288 h 1179513"/>
                    <a:gd name="connsiteX202" fmla="*/ 711200 w 1179513"/>
                    <a:gd name="connsiteY202" fmla="*/ 11113 h 1179513"/>
                    <a:gd name="connsiteX203" fmla="*/ 1004888 w 1179513"/>
                    <a:gd name="connsiteY203" fmla="*/ 170632 h 1179513"/>
                    <a:gd name="connsiteX204" fmla="*/ 910794 w 1179513"/>
                    <a:gd name="connsiteY204" fmla="*/ 215901 h 1179513"/>
                    <a:gd name="connsiteX205" fmla="*/ 907230 w 1179513"/>
                    <a:gd name="connsiteY205" fmla="*/ 215901 h 1179513"/>
                    <a:gd name="connsiteX206" fmla="*/ 907230 w 1179513"/>
                    <a:gd name="connsiteY206" fmla="*/ 214464 h 1179513"/>
                    <a:gd name="connsiteX207" fmla="*/ 873727 w 1179513"/>
                    <a:gd name="connsiteY207" fmla="*/ 195781 h 1179513"/>
                    <a:gd name="connsiteX208" fmla="*/ 872301 w 1179513"/>
                    <a:gd name="connsiteY208" fmla="*/ 195781 h 1179513"/>
                    <a:gd name="connsiteX209" fmla="*/ 870875 w 1179513"/>
                    <a:gd name="connsiteY209" fmla="*/ 194344 h 1179513"/>
                    <a:gd name="connsiteX210" fmla="*/ 768940 w 1179513"/>
                    <a:gd name="connsiteY210" fmla="*/ 56382 h 1179513"/>
                    <a:gd name="connsiteX211" fmla="*/ 711200 w 1179513"/>
                    <a:gd name="connsiteY211" fmla="*/ 11113 h 1179513"/>
                    <a:gd name="connsiteX212" fmla="*/ 596900 w 1179513"/>
                    <a:gd name="connsiteY212" fmla="*/ 0 h 1179513"/>
                    <a:gd name="connsiteX213" fmla="*/ 644152 w 1179513"/>
                    <a:gd name="connsiteY213" fmla="*/ 1430 h 1179513"/>
                    <a:gd name="connsiteX214" fmla="*/ 755837 w 1179513"/>
                    <a:gd name="connsiteY214" fmla="*/ 73626 h 1179513"/>
                    <a:gd name="connsiteX215" fmla="*/ 851056 w 1179513"/>
                    <a:gd name="connsiteY215" fmla="*/ 198718 h 1179513"/>
                    <a:gd name="connsiteX216" fmla="*/ 852488 w 1179513"/>
                    <a:gd name="connsiteY216" fmla="*/ 200148 h 1179513"/>
                    <a:gd name="connsiteX217" fmla="*/ 848909 w 1179513"/>
                    <a:gd name="connsiteY217" fmla="*/ 203722 h 1179513"/>
                    <a:gd name="connsiteX218" fmla="*/ 831010 w 1179513"/>
                    <a:gd name="connsiteY218" fmla="*/ 233744 h 1179513"/>
                    <a:gd name="connsiteX219" fmla="*/ 831010 w 1179513"/>
                    <a:gd name="connsiteY219" fmla="*/ 236604 h 1179513"/>
                    <a:gd name="connsiteX220" fmla="*/ 827431 w 1179513"/>
                    <a:gd name="connsiteY220" fmla="*/ 236604 h 1179513"/>
                    <a:gd name="connsiteX221" fmla="*/ 629117 w 1179513"/>
                    <a:gd name="connsiteY221" fmla="*/ 258763 h 1179513"/>
                    <a:gd name="connsiteX222" fmla="*/ 626969 w 1179513"/>
                    <a:gd name="connsiteY222" fmla="*/ 258763 h 1179513"/>
                    <a:gd name="connsiteX223" fmla="*/ 626969 w 1179513"/>
                    <a:gd name="connsiteY223" fmla="*/ 256619 h 1179513"/>
                    <a:gd name="connsiteX224" fmla="*/ 599048 w 1179513"/>
                    <a:gd name="connsiteY224" fmla="*/ 228741 h 1179513"/>
                    <a:gd name="connsiteX225" fmla="*/ 596900 w 1179513"/>
                    <a:gd name="connsiteY225" fmla="*/ 228741 h 1179513"/>
                    <a:gd name="connsiteX226" fmla="*/ 596900 w 1179513"/>
                    <a:gd name="connsiteY226" fmla="*/ 0 h 1179513"/>
                    <a:gd name="connsiteX227" fmla="*/ 576262 w 1179513"/>
                    <a:gd name="connsiteY227" fmla="*/ 0 h 1179513"/>
                    <a:gd name="connsiteX228" fmla="*/ 576262 w 1179513"/>
                    <a:gd name="connsiteY228" fmla="*/ 228741 h 1179513"/>
                    <a:gd name="connsiteX229" fmla="*/ 574827 w 1179513"/>
                    <a:gd name="connsiteY229" fmla="*/ 228741 h 1179513"/>
                    <a:gd name="connsiteX230" fmla="*/ 548267 w 1179513"/>
                    <a:gd name="connsiteY230" fmla="*/ 256619 h 1179513"/>
                    <a:gd name="connsiteX231" fmla="*/ 546114 w 1179513"/>
                    <a:gd name="connsiteY231" fmla="*/ 258763 h 1179513"/>
                    <a:gd name="connsiteX232" fmla="*/ 544678 w 1179513"/>
                    <a:gd name="connsiteY232" fmla="*/ 258763 h 1179513"/>
                    <a:gd name="connsiteX233" fmla="*/ 343687 w 1179513"/>
                    <a:gd name="connsiteY233" fmla="*/ 233744 h 1179513"/>
                    <a:gd name="connsiteX234" fmla="*/ 342251 w 1179513"/>
                    <a:gd name="connsiteY234" fmla="*/ 233744 h 1179513"/>
                    <a:gd name="connsiteX235" fmla="*/ 340815 w 1179513"/>
                    <a:gd name="connsiteY235" fmla="*/ 230170 h 1179513"/>
                    <a:gd name="connsiteX236" fmla="*/ 330766 w 1179513"/>
                    <a:gd name="connsiteY236" fmla="*/ 203722 h 1179513"/>
                    <a:gd name="connsiteX237" fmla="*/ 328612 w 1179513"/>
                    <a:gd name="connsiteY237" fmla="*/ 201578 h 1179513"/>
                    <a:gd name="connsiteX238" fmla="*/ 330766 w 1179513"/>
                    <a:gd name="connsiteY238" fmla="*/ 198718 h 1179513"/>
                    <a:gd name="connsiteX239" fmla="*/ 422647 w 1179513"/>
                    <a:gd name="connsiteY239" fmla="*/ 70052 h 1179513"/>
                    <a:gd name="connsiteX240" fmla="*/ 526014 w 1179513"/>
                    <a:gd name="connsiteY240" fmla="*/ 3574 h 1179513"/>
                    <a:gd name="connsiteX241" fmla="*/ 576262 w 1179513"/>
                    <a:gd name="connsiteY241" fmla="*/ 0 h 117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1179513" h="1179513">
                      <a:moveTo>
                        <a:pt x="879944" y="1017588"/>
                      </a:moveTo>
                      <a:cubicBezTo>
                        <a:pt x="873512" y="1026206"/>
                        <a:pt x="869939" y="1036260"/>
                        <a:pt x="869939" y="1047033"/>
                      </a:cubicBezTo>
                      <a:cubicBezTo>
                        <a:pt x="869939" y="1059241"/>
                        <a:pt x="874227" y="1071450"/>
                        <a:pt x="883517" y="1080786"/>
                      </a:cubicBezTo>
                      <a:cubicBezTo>
                        <a:pt x="887805" y="1085095"/>
                        <a:pt x="892808" y="1088686"/>
                        <a:pt x="898525" y="1090840"/>
                      </a:cubicBezTo>
                      <a:cubicBezTo>
                        <a:pt x="839922" y="1127466"/>
                        <a:pt x="774173" y="1153320"/>
                        <a:pt x="704850" y="1168401"/>
                      </a:cubicBezTo>
                      <a:cubicBezTo>
                        <a:pt x="724861" y="1154756"/>
                        <a:pt x="748445" y="1136084"/>
                        <a:pt x="769885" y="1114539"/>
                      </a:cubicBezTo>
                      <a:cubicBezTo>
                        <a:pt x="797042" y="1088686"/>
                        <a:pt x="821341" y="1057805"/>
                        <a:pt x="842781" y="1022615"/>
                      </a:cubicBezTo>
                      <a:cubicBezTo>
                        <a:pt x="847069" y="1024052"/>
                        <a:pt x="851357" y="1024770"/>
                        <a:pt x="855645" y="1024770"/>
                      </a:cubicBezTo>
                      <a:cubicBezTo>
                        <a:pt x="864221" y="1024770"/>
                        <a:pt x="872797" y="1021897"/>
                        <a:pt x="879944" y="1017588"/>
                      </a:cubicBezTo>
                      <a:close/>
                      <a:moveTo>
                        <a:pt x="262876" y="950913"/>
                      </a:moveTo>
                      <a:cubicBezTo>
                        <a:pt x="262876" y="950913"/>
                        <a:pt x="262876" y="950913"/>
                        <a:pt x="264307" y="954490"/>
                      </a:cubicBezTo>
                      <a:cubicBezTo>
                        <a:pt x="272893" y="970945"/>
                        <a:pt x="291496" y="979530"/>
                        <a:pt x="309383" y="974522"/>
                      </a:cubicBezTo>
                      <a:cubicBezTo>
                        <a:pt x="309383" y="974522"/>
                        <a:pt x="309383" y="974522"/>
                        <a:pt x="311530" y="974522"/>
                      </a:cubicBezTo>
                      <a:cubicBezTo>
                        <a:pt x="311530" y="974522"/>
                        <a:pt x="311530" y="974522"/>
                        <a:pt x="312961" y="975953"/>
                      </a:cubicBezTo>
                      <a:cubicBezTo>
                        <a:pt x="339434" y="1031040"/>
                        <a:pt x="373062" y="1079689"/>
                        <a:pt x="411699" y="1118322"/>
                      </a:cubicBezTo>
                      <a:cubicBezTo>
                        <a:pt x="433164" y="1138353"/>
                        <a:pt x="454628" y="1154808"/>
                        <a:pt x="474662" y="1168401"/>
                      </a:cubicBezTo>
                      <a:cubicBezTo>
                        <a:pt x="356606" y="1144792"/>
                        <a:pt x="251428" y="1084697"/>
                        <a:pt x="169862" y="1003139"/>
                      </a:cubicBezTo>
                      <a:cubicBezTo>
                        <a:pt x="186318" y="989546"/>
                        <a:pt x="214938" y="970945"/>
                        <a:pt x="259299" y="953059"/>
                      </a:cubicBezTo>
                      <a:cubicBezTo>
                        <a:pt x="259299" y="953059"/>
                        <a:pt x="259299" y="953059"/>
                        <a:pt x="262876" y="950913"/>
                      </a:cubicBezTo>
                      <a:close/>
                      <a:moveTo>
                        <a:pt x="626998" y="903288"/>
                      </a:moveTo>
                      <a:cubicBezTo>
                        <a:pt x="626998" y="903288"/>
                        <a:pt x="626998" y="903288"/>
                        <a:pt x="630581" y="903288"/>
                      </a:cubicBezTo>
                      <a:cubicBezTo>
                        <a:pt x="671428" y="904002"/>
                        <a:pt x="710125" y="906143"/>
                        <a:pt x="745956" y="910426"/>
                      </a:cubicBezTo>
                      <a:cubicBezTo>
                        <a:pt x="746673" y="921846"/>
                        <a:pt x="750972" y="933266"/>
                        <a:pt x="759572" y="941831"/>
                      </a:cubicBezTo>
                      <a:cubicBezTo>
                        <a:pt x="768171" y="951110"/>
                        <a:pt x="780354" y="956106"/>
                        <a:pt x="793253" y="956106"/>
                      </a:cubicBezTo>
                      <a:cubicBezTo>
                        <a:pt x="804002" y="956106"/>
                        <a:pt x="814034" y="952538"/>
                        <a:pt x="821917" y="946114"/>
                      </a:cubicBezTo>
                      <a:cubicBezTo>
                        <a:pt x="805435" y="964671"/>
                        <a:pt x="805435" y="992508"/>
                        <a:pt x="822634" y="1010352"/>
                      </a:cubicBezTo>
                      <a:cubicBezTo>
                        <a:pt x="824067" y="1011780"/>
                        <a:pt x="824784" y="1012493"/>
                        <a:pt x="825500" y="1013207"/>
                      </a:cubicBezTo>
                      <a:cubicBezTo>
                        <a:pt x="805435" y="1045326"/>
                        <a:pt x="783220" y="1073877"/>
                        <a:pt x="758855" y="1098145"/>
                      </a:cubicBezTo>
                      <a:cubicBezTo>
                        <a:pt x="717291" y="1139543"/>
                        <a:pt x="674295" y="1163097"/>
                        <a:pt x="644197" y="1175944"/>
                      </a:cubicBezTo>
                      <a:cubicBezTo>
                        <a:pt x="626998" y="1178086"/>
                        <a:pt x="611949" y="1179513"/>
                        <a:pt x="596900" y="1179513"/>
                      </a:cubicBezTo>
                      <a:cubicBezTo>
                        <a:pt x="596900" y="1179513"/>
                        <a:pt x="596900" y="1179513"/>
                        <a:pt x="596900" y="936121"/>
                      </a:cubicBezTo>
                      <a:cubicBezTo>
                        <a:pt x="596900" y="936121"/>
                        <a:pt x="596900" y="936121"/>
                        <a:pt x="599050" y="936121"/>
                      </a:cubicBezTo>
                      <a:cubicBezTo>
                        <a:pt x="614099" y="931125"/>
                        <a:pt x="624132" y="919705"/>
                        <a:pt x="626998" y="904716"/>
                      </a:cubicBezTo>
                      <a:cubicBezTo>
                        <a:pt x="626998" y="904716"/>
                        <a:pt x="626998" y="904716"/>
                        <a:pt x="626998" y="903288"/>
                      </a:cubicBezTo>
                      <a:close/>
                      <a:moveTo>
                        <a:pt x="543242" y="903288"/>
                      </a:moveTo>
                      <a:cubicBezTo>
                        <a:pt x="543242" y="903288"/>
                        <a:pt x="543242" y="903288"/>
                        <a:pt x="546114" y="903288"/>
                      </a:cubicBezTo>
                      <a:cubicBezTo>
                        <a:pt x="546114" y="903288"/>
                        <a:pt x="546114" y="903288"/>
                        <a:pt x="546114" y="904716"/>
                      </a:cubicBezTo>
                      <a:cubicBezTo>
                        <a:pt x="551138" y="919705"/>
                        <a:pt x="561188" y="931125"/>
                        <a:pt x="574827" y="936121"/>
                      </a:cubicBezTo>
                      <a:cubicBezTo>
                        <a:pt x="574827" y="936121"/>
                        <a:pt x="574827" y="936121"/>
                        <a:pt x="576262" y="936121"/>
                      </a:cubicBezTo>
                      <a:cubicBezTo>
                        <a:pt x="576262" y="936121"/>
                        <a:pt x="576262" y="936121"/>
                        <a:pt x="576262" y="1179513"/>
                      </a:cubicBezTo>
                      <a:cubicBezTo>
                        <a:pt x="563341" y="1178086"/>
                        <a:pt x="549703" y="1178086"/>
                        <a:pt x="536064" y="1175944"/>
                      </a:cubicBezTo>
                      <a:cubicBezTo>
                        <a:pt x="504480" y="1163097"/>
                        <a:pt x="464281" y="1139543"/>
                        <a:pt x="424083" y="1099572"/>
                      </a:cubicBezTo>
                      <a:cubicBezTo>
                        <a:pt x="387474" y="1063170"/>
                        <a:pt x="355890" y="1018203"/>
                        <a:pt x="330766" y="964671"/>
                      </a:cubicBezTo>
                      <a:cubicBezTo>
                        <a:pt x="330766" y="964671"/>
                        <a:pt x="330766" y="964671"/>
                        <a:pt x="328612" y="963244"/>
                      </a:cubicBezTo>
                      <a:cubicBezTo>
                        <a:pt x="328612" y="963244"/>
                        <a:pt x="328612" y="963244"/>
                        <a:pt x="330766" y="961103"/>
                      </a:cubicBezTo>
                      <a:cubicBezTo>
                        <a:pt x="337226" y="953251"/>
                        <a:pt x="340815" y="943259"/>
                        <a:pt x="340815" y="931125"/>
                      </a:cubicBezTo>
                      <a:cubicBezTo>
                        <a:pt x="340815" y="931125"/>
                        <a:pt x="340815" y="931125"/>
                        <a:pt x="340815" y="928270"/>
                      </a:cubicBezTo>
                      <a:cubicBezTo>
                        <a:pt x="340815" y="928270"/>
                        <a:pt x="340815" y="928270"/>
                        <a:pt x="343687" y="926128"/>
                      </a:cubicBezTo>
                      <a:cubicBezTo>
                        <a:pt x="402548" y="913281"/>
                        <a:pt x="469306" y="904716"/>
                        <a:pt x="543242" y="903288"/>
                      </a:cubicBezTo>
                      <a:close/>
                      <a:moveTo>
                        <a:pt x="988495" y="879475"/>
                      </a:moveTo>
                      <a:cubicBezTo>
                        <a:pt x="1007237" y="879475"/>
                        <a:pt x="1026700" y="881743"/>
                        <a:pt x="1046163" y="887035"/>
                      </a:cubicBezTo>
                      <a:cubicBezTo>
                        <a:pt x="1026700" y="882499"/>
                        <a:pt x="1007958" y="880231"/>
                        <a:pt x="988495" y="880231"/>
                      </a:cubicBezTo>
                      <a:cubicBezTo>
                        <a:pt x="965427" y="880231"/>
                        <a:pt x="943081" y="883255"/>
                        <a:pt x="920734" y="890058"/>
                      </a:cubicBezTo>
                      <a:cubicBezTo>
                        <a:pt x="914967" y="891570"/>
                        <a:pt x="909921" y="893838"/>
                        <a:pt x="904875" y="895350"/>
                      </a:cubicBezTo>
                      <a:cubicBezTo>
                        <a:pt x="910642" y="893838"/>
                        <a:pt x="916409" y="891570"/>
                        <a:pt x="922176" y="889303"/>
                      </a:cubicBezTo>
                      <a:cubicBezTo>
                        <a:pt x="944522" y="882499"/>
                        <a:pt x="966148" y="879475"/>
                        <a:pt x="988495" y="879475"/>
                      </a:cubicBezTo>
                      <a:close/>
                      <a:moveTo>
                        <a:pt x="975138" y="588963"/>
                      </a:moveTo>
                      <a:lnTo>
                        <a:pt x="1179513" y="588963"/>
                      </a:lnTo>
                      <a:cubicBezTo>
                        <a:pt x="1179513" y="588963"/>
                        <a:pt x="1179513" y="588963"/>
                        <a:pt x="1179513" y="590384"/>
                      </a:cubicBezTo>
                      <a:cubicBezTo>
                        <a:pt x="1179513" y="671376"/>
                        <a:pt x="1163135" y="748816"/>
                        <a:pt x="1133226" y="819151"/>
                      </a:cubicBezTo>
                      <a:cubicBezTo>
                        <a:pt x="1085515" y="796417"/>
                        <a:pt x="1037092" y="785049"/>
                        <a:pt x="987956" y="785049"/>
                      </a:cubicBezTo>
                      <a:cubicBezTo>
                        <a:pt x="968729" y="785049"/>
                        <a:pt x="949502" y="787181"/>
                        <a:pt x="930275" y="790733"/>
                      </a:cubicBezTo>
                      <a:cubicBezTo>
                        <a:pt x="940957" y="737449"/>
                        <a:pt x="946654" y="680612"/>
                        <a:pt x="948790" y="620223"/>
                      </a:cubicBezTo>
                      <a:cubicBezTo>
                        <a:pt x="948790" y="620223"/>
                        <a:pt x="948790" y="620223"/>
                        <a:pt x="948790" y="616671"/>
                      </a:cubicBezTo>
                      <a:cubicBezTo>
                        <a:pt x="948790" y="616671"/>
                        <a:pt x="948790" y="616671"/>
                        <a:pt x="950214" y="616671"/>
                      </a:cubicBezTo>
                      <a:cubicBezTo>
                        <a:pt x="962320" y="611698"/>
                        <a:pt x="970153" y="603883"/>
                        <a:pt x="973714" y="591805"/>
                      </a:cubicBezTo>
                      <a:cubicBezTo>
                        <a:pt x="973714" y="591805"/>
                        <a:pt x="973714" y="591805"/>
                        <a:pt x="975138" y="588963"/>
                      </a:cubicBezTo>
                      <a:close/>
                      <a:moveTo>
                        <a:pt x="626918" y="588963"/>
                      </a:moveTo>
                      <a:cubicBezTo>
                        <a:pt x="626918" y="588963"/>
                        <a:pt x="626918" y="588963"/>
                        <a:pt x="895653" y="588963"/>
                      </a:cubicBezTo>
                      <a:cubicBezTo>
                        <a:pt x="895653" y="588963"/>
                        <a:pt x="895653" y="588963"/>
                        <a:pt x="895653" y="591814"/>
                      </a:cubicBezTo>
                      <a:cubicBezTo>
                        <a:pt x="900656" y="605355"/>
                        <a:pt x="912091" y="615332"/>
                        <a:pt x="925671" y="618896"/>
                      </a:cubicBezTo>
                      <a:cubicBezTo>
                        <a:pt x="925671" y="618896"/>
                        <a:pt x="925671" y="618896"/>
                        <a:pt x="927100" y="618896"/>
                      </a:cubicBezTo>
                      <a:cubicBezTo>
                        <a:pt x="927100" y="618896"/>
                        <a:pt x="927100" y="618896"/>
                        <a:pt x="927100" y="621746"/>
                      </a:cubicBezTo>
                      <a:cubicBezTo>
                        <a:pt x="924956" y="684462"/>
                        <a:pt x="918524" y="742189"/>
                        <a:pt x="907803" y="795640"/>
                      </a:cubicBezTo>
                      <a:cubicBezTo>
                        <a:pt x="903515" y="797065"/>
                        <a:pt x="898511" y="798491"/>
                        <a:pt x="894223" y="799916"/>
                      </a:cubicBezTo>
                      <a:cubicBezTo>
                        <a:pt x="814175" y="823435"/>
                        <a:pt x="764859" y="870471"/>
                        <a:pt x="759856" y="875460"/>
                      </a:cubicBezTo>
                      <a:cubicBezTo>
                        <a:pt x="755568" y="879736"/>
                        <a:pt x="751994" y="884012"/>
                        <a:pt x="749850" y="889001"/>
                      </a:cubicBezTo>
                      <a:cubicBezTo>
                        <a:pt x="711970" y="884725"/>
                        <a:pt x="671231" y="882587"/>
                        <a:pt x="629063" y="881162"/>
                      </a:cubicBezTo>
                      <a:cubicBezTo>
                        <a:pt x="629063" y="881162"/>
                        <a:pt x="629063" y="881162"/>
                        <a:pt x="626918" y="881162"/>
                      </a:cubicBezTo>
                      <a:cubicBezTo>
                        <a:pt x="626918" y="881162"/>
                        <a:pt x="626918" y="881162"/>
                        <a:pt x="625489" y="878311"/>
                      </a:cubicBezTo>
                      <a:cubicBezTo>
                        <a:pt x="620486" y="866195"/>
                        <a:pt x="611909" y="856218"/>
                        <a:pt x="599044" y="853367"/>
                      </a:cubicBezTo>
                      <a:cubicBezTo>
                        <a:pt x="599044" y="853367"/>
                        <a:pt x="599044" y="853367"/>
                        <a:pt x="596900" y="851229"/>
                      </a:cubicBezTo>
                      <a:cubicBezTo>
                        <a:pt x="596900" y="851229"/>
                        <a:pt x="596900" y="851229"/>
                        <a:pt x="596900" y="618896"/>
                      </a:cubicBezTo>
                      <a:cubicBezTo>
                        <a:pt x="596900" y="618896"/>
                        <a:pt x="596900" y="618896"/>
                        <a:pt x="599044" y="616758"/>
                      </a:cubicBezTo>
                      <a:cubicBezTo>
                        <a:pt x="611909" y="613907"/>
                        <a:pt x="621915" y="603929"/>
                        <a:pt x="625489" y="591814"/>
                      </a:cubicBezTo>
                      <a:cubicBezTo>
                        <a:pt x="625489" y="591814"/>
                        <a:pt x="625489" y="591814"/>
                        <a:pt x="626918" y="588963"/>
                      </a:cubicBezTo>
                      <a:close/>
                      <a:moveTo>
                        <a:pt x="282272" y="588963"/>
                      </a:moveTo>
                      <a:cubicBezTo>
                        <a:pt x="282272" y="588963"/>
                        <a:pt x="282272" y="588963"/>
                        <a:pt x="548298" y="588963"/>
                      </a:cubicBezTo>
                      <a:cubicBezTo>
                        <a:pt x="548298" y="588963"/>
                        <a:pt x="548298" y="588963"/>
                        <a:pt x="548298" y="591817"/>
                      </a:cubicBezTo>
                      <a:cubicBezTo>
                        <a:pt x="553318" y="603946"/>
                        <a:pt x="563356" y="613935"/>
                        <a:pt x="574829" y="616789"/>
                      </a:cubicBezTo>
                      <a:cubicBezTo>
                        <a:pt x="574829" y="616789"/>
                        <a:pt x="574829" y="616789"/>
                        <a:pt x="576263" y="618929"/>
                      </a:cubicBezTo>
                      <a:cubicBezTo>
                        <a:pt x="576263" y="618929"/>
                        <a:pt x="576263" y="618929"/>
                        <a:pt x="576263" y="851525"/>
                      </a:cubicBezTo>
                      <a:cubicBezTo>
                        <a:pt x="576263" y="851525"/>
                        <a:pt x="576263" y="851525"/>
                        <a:pt x="574829" y="853665"/>
                      </a:cubicBezTo>
                      <a:cubicBezTo>
                        <a:pt x="563356" y="856519"/>
                        <a:pt x="553318" y="866508"/>
                        <a:pt x="548298" y="878637"/>
                      </a:cubicBezTo>
                      <a:cubicBezTo>
                        <a:pt x="548298" y="878637"/>
                        <a:pt x="548298" y="878637"/>
                        <a:pt x="548298" y="881491"/>
                      </a:cubicBezTo>
                      <a:cubicBezTo>
                        <a:pt x="548298" y="881491"/>
                        <a:pt x="548298" y="881491"/>
                        <a:pt x="544713" y="881491"/>
                      </a:cubicBezTo>
                      <a:cubicBezTo>
                        <a:pt x="467988" y="883632"/>
                        <a:pt x="397717" y="891480"/>
                        <a:pt x="336051" y="906463"/>
                      </a:cubicBezTo>
                      <a:cubicBezTo>
                        <a:pt x="336051" y="906463"/>
                        <a:pt x="336051" y="906463"/>
                        <a:pt x="333900" y="906463"/>
                      </a:cubicBezTo>
                      <a:cubicBezTo>
                        <a:pt x="333900" y="906463"/>
                        <a:pt x="333900" y="906463"/>
                        <a:pt x="332466" y="905036"/>
                      </a:cubicBezTo>
                      <a:cubicBezTo>
                        <a:pt x="326012" y="895047"/>
                        <a:pt x="313822" y="890053"/>
                        <a:pt x="302350" y="888626"/>
                      </a:cubicBezTo>
                      <a:cubicBezTo>
                        <a:pt x="302350" y="888626"/>
                        <a:pt x="302350" y="888626"/>
                        <a:pt x="300915" y="888626"/>
                      </a:cubicBezTo>
                      <a:cubicBezTo>
                        <a:pt x="300915" y="888626"/>
                        <a:pt x="300915" y="888626"/>
                        <a:pt x="298764" y="886486"/>
                      </a:cubicBezTo>
                      <a:cubicBezTo>
                        <a:pt x="273667" y="808716"/>
                        <a:pt x="260761" y="718817"/>
                        <a:pt x="257175" y="618929"/>
                      </a:cubicBezTo>
                      <a:cubicBezTo>
                        <a:pt x="257175" y="618929"/>
                        <a:pt x="257175" y="618929"/>
                        <a:pt x="257175" y="616789"/>
                      </a:cubicBezTo>
                      <a:cubicBezTo>
                        <a:pt x="257175" y="616789"/>
                        <a:pt x="257175" y="616789"/>
                        <a:pt x="258609" y="615362"/>
                      </a:cubicBezTo>
                      <a:cubicBezTo>
                        <a:pt x="270799" y="611795"/>
                        <a:pt x="277253" y="601806"/>
                        <a:pt x="282272" y="591817"/>
                      </a:cubicBezTo>
                      <a:cubicBezTo>
                        <a:pt x="282272" y="591817"/>
                        <a:pt x="282272" y="591817"/>
                        <a:pt x="282272" y="588963"/>
                      </a:cubicBezTo>
                      <a:close/>
                      <a:moveTo>
                        <a:pt x="0" y="588963"/>
                      </a:moveTo>
                      <a:cubicBezTo>
                        <a:pt x="0" y="588963"/>
                        <a:pt x="0" y="588963"/>
                        <a:pt x="202940" y="588963"/>
                      </a:cubicBezTo>
                      <a:cubicBezTo>
                        <a:pt x="202940" y="588963"/>
                        <a:pt x="202940" y="588963"/>
                        <a:pt x="205084" y="591813"/>
                      </a:cubicBezTo>
                      <a:cubicBezTo>
                        <a:pt x="210086" y="605351"/>
                        <a:pt x="221519" y="615326"/>
                        <a:pt x="235096" y="618889"/>
                      </a:cubicBezTo>
                      <a:cubicBezTo>
                        <a:pt x="235096" y="618889"/>
                        <a:pt x="235096" y="618889"/>
                        <a:pt x="237954" y="620314"/>
                      </a:cubicBezTo>
                      <a:cubicBezTo>
                        <a:pt x="237954" y="620314"/>
                        <a:pt x="237954" y="620314"/>
                        <a:pt x="237954" y="621739"/>
                      </a:cubicBezTo>
                      <a:cubicBezTo>
                        <a:pt x="241527" y="721492"/>
                        <a:pt x="254390" y="813408"/>
                        <a:pt x="279400" y="891073"/>
                      </a:cubicBezTo>
                      <a:cubicBezTo>
                        <a:pt x="279400" y="891073"/>
                        <a:pt x="279400" y="891073"/>
                        <a:pt x="279400" y="893210"/>
                      </a:cubicBezTo>
                      <a:cubicBezTo>
                        <a:pt x="279400" y="893210"/>
                        <a:pt x="279400" y="893210"/>
                        <a:pt x="277971" y="894635"/>
                      </a:cubicBezTo>
                      <a:cubicBezTo>
                        <a:pt x="266538" y="901048"/>
                        <a:pt x="259392" y="914586"/>
                        <a:pt x="257963" y="928124"/>
                      </a:cubicBezTo>
                      <a:cubicBezTo>
                        <a:pt x="257963" y="928124"/>
                        <a:pt x="257963" y="928124"/>
                        <a:pt x="257963" y="929549"/>
                      </a:cubicBezTo>
                      <a:cubicBezTo>
                        <a:pt x="257963" y="929549"/>
                        <a:pt x="257963" y="929549"/>
                        <a:pt x="256533" y="930974"/>
                      </a:cubicBezTo>
                      <a:cubicBezTo>
                        <a:pt x="206513" y="949499"/>
                        <a:pt x="172928" y="970875"/>
                        <a:pt x="155063" y="985838"/>
                      </a:cubicBezTo>
                      <a:cubicBezTo>
                        <a:pt x="58595" y="881097"/>
                        <a:pt x="0" y="743581"/>
                        <a:pt x="0" y="590388"/>
                      </a:cubicBezTo>
                      <a:cubicBezTo>
                        <a:pt x="0" y="588963"/>
                        <a:pt x="0" y="588963"/>
                        <a:pt x="0" y="588963"/>
                      </a:cubicBezTo>
                      <a:close/>
                      <a:moveTo>
                        <a:pt x="832043" y="258763"/>
                      </a:moveTo>
                      <a:cubicBezTo>
                        <a:pt x="832043" y="258763"/>
                        <a:pt x="832043" y="258763"/>
                        <a:pt x="833472" y="258763"/>
                      </a:cubicBezTo>
                      <a:cubicBezTo>
                        <a:pt x="833472" y="258763"/>
                        <a:pt x="833472" y="258763"/>
                        <a:pt x="835616" y="260192"/>
                      </a:cubicBezTo>
                      <a:cubicBezTo>
                        <a:pt x="845622" y="276627"/>
                        <a:pt x="862061" y="286631"/>
                        <a:pt x="882073" y="281629"/>
                      </a:cubicBezTo>
                      <a:cubicBezTo>
                        <a:pt x="882073" y="281629"/>
                        <a:pt x="882073" y="281629"/>
                        <a:pt x="885647" y="280200"/>
                      </a:cubicBezTo>
                      <a:cubicBezTo>
                        <a:pt x="885647" y="280200"/>
                        <a:pt x="885647" y="280200"/>
                        <a:pt x="885647" y="283773"/>
                      </a:cubicBezTo>
                      <a:cubicBezTo>
                        <a:pt x="910662" y="355229"/>
                        <a:pt x="923527" y="438832"/>
                        <a:pt x="927100" y="530296"/>
                      </a:cubicBezTo>
                      <a:cubicBezTo>
                        <a:pt x="927100" y="530296"/>
                        <a:pt x="927100" y="530296"/>
                        <a:pt x="927100" y="533868"/>
                      </a:cubicBezTo>
                      <a:cubicBezTo>
                        <a:pt x="927100" y="533868"/>
                        <a:pt x="927100" y="533868"/>
                        <a:pt x="925671" y="533868"/>
                      </a:cubicBezTo>
                      <a:cubicBezTo>
                        <a:pt x="910662" y="536727"/>
                        <a:pt x="898511" y="550303"/>
                        <a:pt x="893508" y="565309"/>
                      </a:cubicBezTo>
                      <a:cubicBezTo>
                        <a:pt x="893508" y="565309"/>
                        <a:pt x="893508" y="565309"/>
                        <a:pt x="893508" y="566738"/>
                      </a:cubicBezTo>
                      <a:cubicBezTo>
                        <a:pt x="893508" y="566738"/>
                        <a:pt x="893508" y="566738"/>
                        <a:pt x="626918" y="566738"/>
                      </a:cubicBezTo>
                      <a:cubicBezTo>
                        <a:pt x="626918" y="566738"/>
                        <a:pt x="626918" y="566738"/>
                        <a:pt x="626918" y="565309"/>
                      </a:cubicBezTo>
                      <a:cubicBezTo>
                        <a:pt x="624060" y="550303"/>
                        <a:pt x="611909" y="538870"/>
                        <a:pt x="599044" y="533868"/>
                      </a:cubicBezTo>
                      <a:cubicBezTo>
                        <a:pt x="599044" y="533868"/>
                        <a:pt x="599044" y="533868"/>
                        <a:pt x="596900" y="533868"/>
                      </a:cubicBezTo>
                      <a:cubicBezTo>
                        <a:pt x="596900" y="533868"/>
                        <a:pt x="596900" y="533868"/>
                        <a:pt x="596900" y="313784"/>
                      </a:cubicBezTo>
                      <a:cubicBezTo>
                        <a:pt x="596900" y="313784"/>
                        <a:pt x="596900" y="313784"/>
                        <a:pt x="599044" y="311641"/>
                      </a:cubicBezTo>
                      <a:cubicBezTo>
                        <a:pt x="611909" y="308782"/>
                        <a:pt x="624060" y="296635"/>
                        <a:pt x="626918" y="283773"/>
                      </a:cubicBezTo>
                      <a:cubicBezTo>
                        <a:pt x="626918" y="283773"/>
                        <a:pt x="626918" y="283773"/>
                        <a:pt x="626918" y="280200"/>
                      </a:cubicBezTo>
                      <a:cubicBezTo>
                        <a:pt x="626918" y="280200"/>
                        <a:pt x="626918" y="280200"/>
                        <a:pt x="630492" y="280200"/>
                      </a:cubicBezTo>
                      <a:cubicBezTo>
                        <a:pt x="704108" y="278771"/>
                        <a:pt x="772006" y="271625"/>
                        <a:pt x="832043" y="258763"/>
                      </a:cubicBezTo>
                      <a:close/>
                      <a:moveTo>
                        <a:pt x="336051" y="255588"/>
                      </a:moveTo>
                      <a:cubicBezTo>
                        <a:pt x="337485" y="255588"/>
                        <a:pt x="337485" y="255588"/>
                        <a:pt x="337485" y="255588"/>
                      </a:cubicBezTo>
                      <a:cubicBezTo>
                        <a:pt x="399151" y="269147"/>
                        <a:pt x="467988" y="279138"/>
                        <a:pt x="544713" y="280566"/>
                      </a:cubicBezTo>
                      <a:cubicBezTo>
                        <a:pt x="546147" y="280566"/>
                        <a:pt x="546147" y="280566"/>
                        <a:pt x="546147" y="280566"/>
                      </a:cubicBezTo>
                      <a:cubicBezTo>
                        <a:pt x="548298" y="281993"/>
                        <a:pt x="548298" y="281993"/>
                        <a:pt x="548298" y="281993"/>
                      </a:cubicBezTo>
                      <a:cubicBezTo>
                        <a:pt x="551166" y="296980"/>
                        <a:pt x="561205" y="309112"/>
                        <a:pt x="574829" y="311966"/>
                      </a:cubicBezTo>
                      <a:cubicBezTo>
                        <a:pt x="576263" y="314107"/>
                        <a:pt x="576263" y="314107"/>
                        <a:pt x="576263" y="314107"/>
                      </a:cubicBezTo>
                      <a:cubicBezTo>
                        <a:pt x="576263" y="533910"/>
                        <a:pt x="576263" y="533910"/>
                        <a:pt x="576263" y="533910"/>
                      </a:cubicBezTo>
                      <a:cubicBezTo>
                        <a:pt x="574829" y="533910"/>
                        <a:pt x="574829" y="533910"/>
                        <a:pt x="574829" y="533910"/>
                      </a:cubicBezTo>
                      <a:cubicBezTo>
                        <a:pt x="561205" y="538906"/>
                        <a:pt x="551166" y="550324"/>
                        <a:pt x="546147" y="565311"/>
                      </a:cubicBezTo>
                      <a:cubicBezTo>
                        <a:pt x="546147" y="566738"/>
                        <a:pt x="546147" y="566738"/>
                        <a:pt x="546147" y="566738"/>
                      </a:cubicBezTo>
                      <a:cubicBezTo>
                        <a:pt x="283706" y="566738"/>
                        <a:pt x="283706" y="566738"/>
                        <a:pt x="283706" y="566738"/>
                      </a:cubicBezTo>
                      <a:cubicBezTo>
                        <a:pt x="283706" y="565311"/>
                        <a:pt x="283706" y="565311"/>
                        <a:pt x="283706" y="565311"/>
                      </a:cubicBezTo>
                      <a:cubicBezTo>
                        <a:pt x="280838" y="551752"/>
                        <a:pt x="272233" y="541761"/>
                        <a:pt x="260761" y="536765"/>
                      </a:cubicBezTo>
                      <a:cubicBezTo>
                        <a:pt x="257175" y="535338"/>
                        <a:pt x="257175" y="535338"/>
                        <a:pt x="257175" y="535338"/>
                      </a:cubicBezTo>
                      <a:cubicBezTo>
                        <a:pt x="257175" y="533910"/>
                        <a:pt x="257175" y="533910"/>
                        <a:pt x="257175" y="533910"/>
                      </a:cubicBezTo>
                      <a:cubicBezTo>
                        <a:pt x="262195" y="436854"/>
                        <a:pt x="275819" y="351930"/>
                        <a:pt x="298764" y="279138"/>
                      </a:cubicBezTo>
                      <a:cubicBezTo>
                        <a:pt x="298764" y="276998"/>
                        <a:pt x="298764" y="276998"/>
                        <a:pt x="298764" y="276998"/>
                      </a:cubicBezTo>
                      <a:cubicBezTo>
                        <a:pt x="302350" y="276998"/>
                        <a:pt x="302350" y="276998"/>
                        <a:pt x="302350" y="276998"/>
                      </a:cubicBezTo>
                      <a:cubicBezTo>
                        <a:pt x="315973" y="275570"/>
                        <a:pt x="327446" y="269147"/>
                        <a:pt x="333900" y="257015"/>
                      </a:cubicBezTo>
                      <a:cubicBezTo>
                        <a:pt x="336051" y="255588"/>
                        <a:pt x="336051" y="255588"/>
                        <a:pt x="336051" y="255588"/>
                      </a:cubicBezTo>
                      <a:close/>
                      <a:moveTo>
                        <a:pt x="1019471" y="187325"/>
                      </a:moveTo>
                      <a:cubicBezTo>
                        <a:pt x="1112973" y="287171"/>
                        <a:pt x="1172929" y="420536"/>
                        <a:pt x="1177925" y="566738"/>
                      </a:cubicBezTo>
                      <a:cubicBezTo>
                        <a:pt x="1177925" y="566738"/>
                        <a:pt x="1177925" y="566738"/>
                        <a:pt x="974504" y="566738"/>
                      </a:cubicBezTo>
                      <a:cubicBezTo>
                        <a:pt x="974504" y="566738"/>
                        <a:pt x="974504" y="566738"/>
                        <a:pt x="974504" y="565312"/>
                      </a:cubicBezTo>
                      <a:cubicBezTo>
                        <a:pt x="971649" y="551761"/>
                        <a:pt x="961656" y="540350"/>
                        <a:pt x="949522" y="535358"/>
                      </a:cubicBezTo>
                      <a:cubicBezTo>
                        <a:pt x="949522" y="535358"/>
                        <a:pt x="949522" y="535358"/>
                        <a:pt x="948095" y="533932"/>
                      </a:cubicBezTo>
                      <a:cubicBezTo>
                        <a:pt x="948095" y="533932"/>
                        <a:pt x="948095" y="533932"/>
                        <a:pt x="948095" y="531792"/>
                      </a:cubicBezTo>
                      <a:cubicBezTo>
                        <a:pt x="943098" y="435513"/>
                        <a:pt x="928109" y="347078"/>
                        <a:pt x="903128" y="270767"/>
                      </a:cubicBezTo>
                      <a:cubicBezTo>
                        <a:pt x="903128" y="270767"/>
                        <a:pt x="903128" y="270767"/>
                        <a:pt x="901700" y="269341"/>
                      </a:cubicBezTo>
                      <a:cubicBezTo>
                        <a:pt x="901700" y="269341"/>
                        <a:pt x="901700" y="269341"/>
                        <a:pt x="903128" y="267202"/>
                      </a:cubicBezTo>
                      <a:cubicBezTo>
                        <a:pt x="910265" y="260783"/>
                        <a:pt x="913120" y="250798"/>
                        <a:pt x="913120" y="239387"/>
                      </a:cubicBezTo>
                      <a:cubicBezTo>
                        <a:pt x="913120" y="239387"/>
                        <a:pt x="913120" y="239387"/>
                        <a:pt x="913120" y="237248"/>
                      </a:cubicBezTo>
                      <a:cubicBezTo>
                        <a:pt x="913120" y="237248"/>
                        <a:pt x="913120" y="237248"/>
                        <a:pt x="916689" y="235821"/>
                      </a:cubicBezTo>
                      <a:cubicBezTo>
                        <a:pt x="964511" y="219418"/>
                        <a:pt x="998058" y="200875"/>
                        <a:pt x="1019471" y="187325"/>
                      </a:cubicBezTo>
                      <a:close/>
                      <a:moveTo>
                        <a:pt x="165132" y="180975"/>
                      </a:moveTo>
                      <a:cubicBezTo>
                        <a:pt x="182987" y="194573"/>
                        <a:pt x="212982" y="213181"/>
                        <a:pt x="256546" y="229643"/>
                      </a:cubicBezTo>
                      <a:cubicBezTo>
                        <a:pt x="256546" y="229643"/>
                        <a:pt x="256546" y="229643"/>
                        <a:pt x="257975" y="229643"/>
                      </a:cubicBezTo>
                      <a:cubicBezTo>
                        <a:pt x="257975" y="229643"/>
                        <a:pt x="257975" y="229643"/>
                        <a:pt x="257975" y="233221"/>
                      </a:cubicBezTo>
                      <a:cubicBezTo>
                        <a:pt x="257975" y="248251"/>
                        <a:pt x="266545" y="261134"/>
                        <a:pt x="277972" y="269722"/>
                      </a:cubicBezTo>
                      <a:cubicBezTo>
                        <a:pt x="277972" y="269722"/>
                        <a:pt x="277972" y="269722"/>
                        <a:pt x="279400" y="269722"/>
                      </a:cubicBezTo>
                      <a:cubicBezTo>
                        <a:pt x="279400" y="269722"/>
                        <a:pt x="279400" y="269722"/>
                        <a:pt x="279400" y="273301"/>
                      </a:cubicBezTo>
                      <a:cubicBezTo>
                        <a:pt x="256546" y="348449"/>
                        <a:pt x="241549" y="433618"/>
                        <a:pt x="237978" y="530237"/>
                      </a:cubicBezTo>
                      <a:cubicBezTo>
                        <a:pt x="237978" y="530237"/>
                        <a:pt x="237978" y="530237"/>
                        <a:pt x="237978" y="531669"/>
                      </a:cubicBezTo>
                      <a:cubicBezTo>
                        <a:pt x="237978" y="531669"/>
                        <a:pt x="237978" y="531669"/>
                        <a:pt x="235121" y="533816"/>
                      </a:cubicBezTo>
                      <a:cubicBezTo>
                        <a:pt x="220123" y="536679"/>
                        <a:pt x="206554" y="548846"/>
                        <a:pt x="202983" y="565307"/>
                      </a:cubicBezTo>
                      <a:cubicBezTo>
                        <a:pt x="202983" y="565307"/>
                        <a:pt x="202983" y="565307"/>
                        <a:pt x="201555" y="566738"/>
                      </a:cubicBezTo>
                      <a:cubicBezTo>
                        <a:pt x="201555" y="566738"/>
                        <a:pt x="201555" y="566738"/>
                        <a:pt x="1587" y="566738"/>
                      </a:cubicBezTo>
                      <a:cubicBezTo>
                        <a:pt x="6586" y="418588"/>
                        <a:pt x="68719" y="281173"/>
                        <a:pt x="165132" y="180975"/>
                      </a:cubicBezTo>
                      <a:close/>
                      <a:moveTo>
                        <a:pt x="458787" y="14288"/>
                      </a:moveTo>
                      <a:cubicBezTo>
                        <a:pt x="442352" y="25649"/>
                        <a:pt x="425202" y="37009"/>
                        <a:pt x="410911" y="51920"/>
                      </a:cubicBezTo>
                      <a:cubicBezTo>
                        <a:pt x="372323" y="88843"/>
                        <a:pt x="338738" y="133576"/>
                        <a:pt x="312299" y="188249"/>
                      </a:cubicBezTo>
                      <a:cubicBezTo>
                        <a:pt x="312299" y="188249"/>
                        <a:pt x="312299" y="188249"/>
                        <a:pt x="310870" y="189670"/>
                      </a:cubicBezTo>
                      <a:cubicBezTo>
                        <a:pt x="310870" y="189670"/>
                        <a:pt x="310870" y="189670"/>
                        <a:pt x="308726" y="189670"/>
                      </a:cubicBezTo>
                      <a:cubicBezTo>
                        <a:pt x="292291" y="184699"/>
                        <a:pt x="273712" y="193220"/>
                        <a:pt x="265851" y="206001"/>
                      </a:cubicBezTo>
                      <a:cubicBezTo>
                        <a:pt x="265851" y="206001"/>
                        <a:pt x="265851" y="206001"/>
                        <a:pt x="263707" y="209551"/>
                      </a:cubicBezTo>
                      <a:cubicBezTo>
                        <a:pt x="263707" y="209551"/>
                        <a:pt x="263707" y="209551"/>
                        <a:pt x="260849" y="208131"/>
                      </a:cubicBezTo>
                      <a:cubicBezTo>
                        <a:pt x="224405" y="193220"/>
                        <a:pt x="197251" y="178309"/>
                        <a:pt x="179387" y="164818"/>
                      </a:cubicBezTo>
                      <a:cubicBezTo>
                        <a:pt x="255847" y="91683"/>
                        <a:pt x="352315" y="39140"/>
                        <a:pt x="458787" y="14288"/>
                      </a:cubicBezTo>
                      <a:close/>
                      <a:moveTo>
                        <a:pt x="711200" y="11113"/>
                      </a:moveTo>
                      <a:cubicBezTo>
                        <a:pt x="823828" y="34825"/>
                        <a:pt x="925764" y="91591"/>
                        <a:pt x="1004888" y="170632"/>
                      </a:cubicBezTo>
                      <a:cubicBezTo>
                        <a:pt x="984929" y="184284"/>
                        <a:pt x="954990" y="200811"/>
                        <a:pt x="910794" y="215901"/>
                      </a:cubicBezTo>
                      <a:cubicBezTo>
                        <a:pt x="910794" y="215901"/>
                        <a:pt x="910794" y="215901"/>
                        <a:pt x="907230" y="215901"/>
                      </a:cubicBezTo>
                      <a:cubicBezTo>
                        <a:pt x="907230" y="215901"/>
                        <a:pt x="907230" y="215901"/>
                        <a:pt x="907230" y="214464"/>
                      </a:cubicBezTo>
                      <a:cubicBezTo>
                        <a:pt x="898676" y="202248"/>
                        <a:pt x="887270" y="195781"/>
                        <a:pt x="873727" y="195781"/>
                      </a:cubicBezTo>
                      <a:cubicBezTo>
                        <a:pt x="873727" y="195781"/>
                        <a:pt x="873727" y="195781"/>
                        <a:pt x="872301" y="195781"/>
                      </a:cubicBezTo>
                      <a:cubicBezTo>
                        <a:pt x="872301" y="195781"/>
                        <a:pt x="872301" y="195781"/>
                        <a:pt x="870875" y="194344"/>
                      </a:cubicBezTo>
                      <a:cubicBezTo>
                        <a:pt x="843788" y="139016"/>
                        <a:pt x="808859" y="93747"/>
                        <a:pt x="768940" y="56382"/>
                      </a:cubicBezTo>
                      <a:cubicBezTo>
                        <a:pt x="749693" y="38418"/>
                        <a:pt x="729734" y="23328"/>
                        <a:pt x="711200" y="11113"/>
                      </a:cubicBezTo>
                      <a:close/>
                      <a:moveTo>
                        <a:pt x="596900" y="0"/>
                      </a:moveTo>
                      <a:cubicBezTo>
                        <a:pt x="611935" y="0"/>
                        <a:pt x="626969" y="0"/>
                        <a:pt x="644152" y="1430"/>
                      </a:cubicBezTo>
                      <a:cubicBezTo>
                        <a:pt x="675653" y="13581"/>
                        <a:pt x="715745" y="35026"/>
                        <a:pt x="755837" y="73626"/>
                      </a:cubicBezTo>
                      <a:cubicBezTo>
                        <a:pt x="792350" y="106507"/>
                        <a:pt x="823851" y="148681"/>
                        <a:pt x="851056" y="198718"/>
                      </a:cubicBezTo>
                      <a:cubicBezTo>
                        <a:pt x="851056" y="198718"/>
                        <a:pt x="851056" y="198718"/>
                        <a:pt x="852488" y="200148"/>
                      </a:cubicBezTo>
                      <a:cubicBezTo>
                        <a:pt x="852488" y="200148"/>
                        <a:pt x="852488" y="200148"/>
                        <a:pt x="848909" y="203722"/>
                      </a:cubicBezTo>
                      <a:cubicBezTo>
                        <a:pt x="838886" y="210155"/>
                        <a:pt x="832442" y="221592"/>
                        <a:pt x="831010" y="233744"/>
                      </a:cubicBezTo>
                      <a:cubicBezTo>
                        <a:pt x="831010" y="233744"/>
                        <a:pt x="831010" y="233744"/>
                        <a:pt x="831010" y="236604"/>
                      </a:cubicBezTo>
                      <a:cubicBezTo>
                        <a:pt x="831010" y="236604"/>
                        <a:pt x="831010" y="236604"/>
                        <a:pt x="827431" y="236604"/>
                      </a:cubicBezTo>
                      <a:cubicBezTo>
                        <a:pt x="768724" y="250185"/>
                        <a:pt x="702142" y="256619"/>
                        <a:pt x="629117" y="258763"/>
                      </a:cubicBezTo>
                      <a:cubicBezTo>
                        <a:pt x="629117" y="258763"/>
                        <a:pt x="629117" y="258763"/>
                        <a:pt x="626969" y="258763"/>
                      </a:cubicBezTo>
                      <a:cubicBezTo>
                        <a:pt x="626969" y="258763"/>
                        <a:pt x="626969" y="258763"/>
                        <a:pt x="626969" y="256619"/>
                      </a:cubicBezTo>
                      <a:cubicBezTo>
                        <a:pt x="621958" y="243752"/>
                        <a:pt x="611935" y="233744"/>
                        <a:pt x="599048" y="228741"/>
                      </a:cubicBezTo>
                      <a:cubicBezTo>
                        <a:pt x="599048" y="228741"/>
                        <a:pt x="599048" y="228741"/>
                        <a:pt x="596900" y="228741"/>
                      </a:cubicBezTo>
                      <a:cubicBezTo>
                        <a:pt x="596900" y="228741"/>
                        <a:pt x="596900" y="228741"/>
                        <a:pt x="596900" y="0"/>
                      </a:cubicBezTo>
                      <a:close/>
                      <a:moveTo>
                        <a:pt x="576262" y="0"/>
                      </a:moveTo>
                      <a:cubicBezTo>
                        <a:pt x="576262" y="0"/>
                        <a:pt x="576262" y="0"/>
                        <a:pt x="576262" y="228741"/>
                      </a:cubicBezTo>
                      <a:cubicBezTo>
                        <a:pt x="576262" y="228741"/>
                        <a:pt x="576262" y="228741"/>
                        <a:pt x="574827" y="228741"/>
                      </a:cubicBezTo>
                      <a:cubicBezTo>
                        <a:pt x="563341" y="233744"/>
                        <a:pt x="553292" y="243752"/>
                        <a:pt x="548267" y="256619"/>
                      </a:cubicBezTo>
                      <a:cubicBezTo>
                        <a:pt x="548267" y="256619"/>
                        <a:pt x="548267" y="256619"/>
                        <a:pt x="546114" y="258763"/>
                      </a:cubicBezTo>
                      <a:cubicBezTo>
                        <a:pt x="546114" y="258763"/>
                        <a:pt x="546114" y="258763"/>
                        <a:pt x="544678" y="258763"/>
                      </a:cubicBezTo>
                      <a:cubicBezTo>
                        <a:pt x="470742" y="256619"/>
                        <a:pt x="402548" y="248755"/>
                        <a:pt x="343687" y="233744"/>
                      </a:cubicBezTo>
                      <a:cubicBezTo>
                        <a:pt x="343687" y="233744"/>
                        <a:pt x="343687" y="233744"/>
                        <a:pt x="342251" y="233744"/>
                      </a:cubicBezTo>
                      <a:cubicBezTo>
                        <a:pt x="342251" y="233744"/>
                        <a:pt x="342251" y="233744"/>
                        <a:pt x="340815" y="230170"/>
                      </a:cubicBezTo>
                      <a:cubicBezTo>
                        <a:pt x="340815" y="220163"/>
                        <a:pt x="337226" y="210155"/>
                        <a:pt x="330766" y="203722"/>
                      </a:cubicBezTo>
                      <a:cubicBezTo>
                        <a:pt x="330766" y="203722"/>
                        <a:pt x="330766" y="203722"/>
                        <a:pt x="328612" y="201578"/>
                      </a:cubicBezTo>
                      <a:cubicBezTo>
                        <a:pt x="328612" y="201578"/>
                        <a:pt x="328612" y="201578"/>
                        <a:pt x="330766" y="198718"/>
                      </a:cubicBezTo>
                      <a:cubicBezTo>
                        <a:pt x="355890" y="148681"/>
                        <a:pt x="386038" y="103648"/>
                        <a:pt x="422647" y="70052"/>
                      </a:cubicBezTo>
                      <a:cubicBezTo>
                        <a:pt x="459257" y="35026"/>
                        <a:pt x="495866" y="15011"/>
                        <a:pt x="526014" y="3574"/>
                      </a:cubicBezTo>
                      <a:cubicBezTo>
                        <a:pt x="543242" y="0"/>
                        <a:pt x="559752" y="0"/>
                        <a:pt x="57626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2" name="Freeform 13">
                  <a:extLst>
                    <a:ext uri="{FF2B5EF4-FFF2-40B4-BE49-F238E27FC236}">
                      <a16:creationId xmlns:a16="http://schemas.microsoft.com/office/drawing/2014/main" id="{B5B84F66-9289-E06A-7864-DC6A5918168E}"/>
                    </a:ext>
                  </a:extLst>
                </p:cNvPr>
                <p:cNvSpPr>
                  <a:spLocks/>
                </p:cNvSpPr>
                <p:nvPr/>
              </p:nvSpPr>
              <p:spPr bwMode="auto">
                <a:xfrm>
                  <a:off x="6634163" y="2776538"/>
                  <a:ext cx="1306513" cy="1304925"/>
                </a:xfrm>
                <a:custGeom>
                  <a:avLst/>
                  <a:gdLst>
                    <a:gd name="connsiteX0" fmla="*/ 1054100 w 1306513"/>
                    <a:gd name="connsiteY0" fmla="*/ 1155700 h 1304925"/>
                    <a:gd name="connsiteX1" fmla="*/ 1066367 w 1306513"/>
                    <a:gd name="connsiteY1" fmla="*/ 1157127 h 1304925"/>
                    <a:gd name="connsiteX2" fmla="*/ 1093787 w 1306513"/>
                    <a:gd name="connsiteY2" fmla="*/ 1194237 h 1304925"/>
                    <a:gd name="connsiteX3" fmla="*/ 1054100 w 1306513"/>
                    <a:gd name="connsiteY3" fmla="*/ 1233488 h 1304925"/>
                    <a:gd name="connsiteX4" fmla="*/ 1014412 w 1306513"/>
                    <a:gd name="connsiteY4" fmla="*/ 1194951 h 1304925"/>
                    <a:gd name="connsiteX5" fmla="*/ 1014412 w 1306513"/>
                    <a:gd name="connsiteY5" fmla="*/ 1194237 h 1304925"/>
                    <a:gd name="connsiteX6" fmla="*/ 1054100 w 1306513"/>
                    <a:gd name="connsiteY6" fmla="*/ 1155700 h 1304925"/>
                    <a:gd name="connsiteX7" fmla="*/ 1052675 w 1306513"/>
                    <a:gd name="connsiteY7" fmla="*/ 1065212 h 1304925"/>
                    <a:gd name="connsiteX8" fmla="*/ 1071200 w 1306513"/>
                    <a:gd name="connsiteY8" fmla="*/ 1066666 h 1304925"/>
                    <a:gd name="connsiteX9" fmla="*/ 1105400 w 1306513"/>
                    <a:gd name="connsiteY9" fmla="*/ 1077568 h 1304925"/>
                    <a:gd name="connsiteX10" fmla="*/ 1133187 w 1306513"/>
                    <a:gd name="connsiteY10" fmla="*/ 1094284 h 1304925"/>
                    <a:gd name="connsiteX11" fmla="*/ 1136750 w 1306513"/>
                    <a:gd name="connsiteY11" fmla="*/ 1097192 h 1304925"/>
                    <a:gd name="connsiteX12" fmla="*/ 1139600 w 1306513"/>
                    <a:gd name="connsiteY12" fmla="*/ 1119723 h 1304925"/>
                    <a:gd name="connsiteX13" fmla="*/ 1126775 w 1306513"/>
                    <a:gd name="connsiteY13" fmla="*/ 1125537 h 1304925"/>
                    <a:gd name="connsiteX14" fmla="*/ 1117512 w 1306513"/>
                    <a:gd name="connsiteY14" fmla="*/ 1122630 h 1304925"/>
                    <a:gd name="connsiteX15" fmla="*/ 1111100 w 1306513"/>
                    <a:gd name="connsiteY15" fmla="*/ 1117542 h 1304925"/>
                    <a:gd name="connsiteX16" fmla="*/ 1081175 w 1306513"/>
                    <a:gd name="connsiteY16" fmla="*/ 1101552 h 1304925"/>
                    <a:gd name="connsiteX17" fmla="*/ 1052675 w 1306513"/>
                    <a:gd name="connsiteY17" fmla="*/ 1096465 h 1304925"/>
                    <a:gd name="connsiteX18" fmla="*/ 1038425 w 1306513"/>
                    <a:gd name="connsiteY18" fmla="*/ 1097918 h 1304925"/>
                    <a:gd name="connsiteX19" fmla="*/ 992112 w 1306513"/>
                    <a:gd name="connsiteY19" fmla="*/ 1121176 h 1304925"/>
                    <a:gd name="connsiteX20" fmla="*/ 981425 w 1306513"/>
                    <a:gd name="connsiteY20" fmla="*/ 1125537 h 1304925"/>
                    <a:gd name="connsiteX21" fmla="*/ 970025 w 1306513"/>
                    <a:gd name="connsiteY21" fmla="*/ 1121176 h 1304925"/>
                    <a:gd name="connsiteX22" fmla="*/ 970025 w 1306513"/>
                    <a:gd name="connsiteY22" fmla="*/ 1098645 h 1304925"/>
                    <a:gd name="connsiteX23" fmla="*/ 1052675 w 1306513"/>
                    <a:gd name="connsiteY23" fmla="*/ 1065212 h 1304925"/>
                    <a:gd name="connsiteX24" fmla="*/ 1052397 w 1306513"/>
                    <a:gd name="connsiteY24" fmla="*/ 973137 h 1304925"/>
                    <a:gd name="connsiteX25" fmla="*/ 1135869 w 1306513"/>
                    <a:gd name="connsiteY25" fmla="*/ 990365 h 1304925"/>
                    <a:gd name="connsiteX26" fmla="*/ 1164407 w 1306513"/>
                    <a:gd name="connsiteY26" fmla="*/ 1004721 h 1304925"/>
                    <a:gd name="connsiteX27" fmla="*/ 1191518 w 1306513"/>
                    <a:gd name="connsiteY27" fmla="*/ 1021949 h 1304925"/>
                    <a:gd name="connsiteX28" fmla="*/ 1197939 w 1306513"/>
                    <a:gd name="connsiteY28" fmla="*/ 1026974 h 1304925"/>
                    <a:gd name="connsiteX29" fmla="*/ 1200793 w 1306513"/>
                    <a:gd name="connsiteY29" fmla="*/ 1049227 h 1304925"/>
                    <a:gd name="connsiteX30" fmla="*/ 1188664 w 1306513"/>
                    <a:gd name="connsiteY30" fmla="*/ 1055687 h 1304925"/>
                    <a:gd name="connsiteX31" fmla="*/ 1178676 w 1306513"/>
                    <a:gd name="connsiteY31" fmla="*/ 1052098 h 1304925"/>
                    <a:gd name="connsiteX32" fmla="*/ 1172968 w 1306513"/>
                    <a:gd name="connsiteY32" fmla="*/ 1047791 h 1304925"/>
                    <a:gd name="connsiteX33" fmla="*/ 1145858 w 1306513"/>
                    <a:gd name="connsiteY33" fmla="*/ 1030563 h 1304925"/>
                    <a:gd name="connsiteX34" fmla="*/ 1116607 w 1306513"/>
                    <a:gd name="connsiteY34" fmla="*/ 1016207 h 1304925"/>
                    <a:gd name="connsiteX35" fmla="*/ 1052397 w 1306513"/>
                    <a:gd name="connsiteY35" fmla="*/ 1004004 h 1304925"/>
                    <a:gd name="connsiteX36" fmla="*/ 1029567 w 1306513"/>
                    <a:gd name="connsiteY36" fmla="*/ 1005439 h 1304925"/>
                    <a:gd name="connsiteX37" fmla="*/ 993894 w 1306513"/>
                    <a:gd name="connsiteY37" fmla="*/ 1014771 h 1304925"/>
                    <a:gd name="connsiteX38" fmla="*/ 931112 w 1306513"/>
                    <a:gd name="connsiteY38" fmla="*/ 1051380 h 1304925"/>
                    <a:gd name="connsiteX39" fmla="*/ 925404 w 1306513"/>
                    <a:gd name="connsiteY39" fmla="*/ 1054969 h 1304925"/>
                    <a:gd name="connsiteX40" fmla="*/ 920410 w 1306513"/>
                    <a:gd name="connsiteY40" fmla="*/ 1055687 h 1304925"/>
                    <a:gd name="connsiteX41" fmla="*/ 908995 w 1306513"/>
                    <a:gd name="connsiteY41" fmla="*/ 1050662 h 1304925"/>
                    <a:gd name="connsiteX42" fmla="*/ 905428 w 1306513"/>
                    <a:gd name="connsiteY42" fmla="*/ 1044920 h 1304925"/>
                    <a:gd name="connsiteX43" fmla="*/ 909708 w 1306513"/>
                    <a:gd name="connsiteY43" fmla="*/ 1028410 h 1304925"/>
                    <a:gd name="connsiteX44" fmla="*/ 913989 w 1306513"/>
                    <a:gd name="connsiteY44" fmla="*/ 1024103 h 1304925"/>
                    <a:gd name="connsiteX45" fmla="*/ 980339 w 1306513"/>
                    <a:gd name="connsiteY45" fmla="*/ 986058 h 1304925"/>
                    <a:gd name="connsiteX46" fmla="*/ 993894 w 1306513"/>
                    <a:gd name="connsiteY46" fmla="*/ 981751 h 1304925"/>
                    <a:gd name="connsiteX47" fmla="*/ 1052397 w 1306513"/>
                    <a:gd name="connsiteY47" fmla="*/ 973137 h 1304925"/>
                    <a:gd name="connsiteX48" fmla="*/ 1051683 w 1306513"/>
                    <a:gd name="connsiteY48" fmla="*/ 879475 h 1304925"/>
                    <a:gd name="connsiteX49" fmla="*/ 1183672 w 1306513"/>
                    <a:gd name="connsiteY49" fmla="*/ 910468 h 1304925"/>
                    <a:gd name="connsiteX50" fmla="*/ 1211497 w 1306513"/>
                    <a:gd name="connsiteY50" fmla="*/ 924556 h 1304925"/>
                    <a:gd name="connsiteX51" fmla="*/ 1238608 w 1306513"/>
                    <a:gd name="connsiteY51" fmla="*/ 941462 h 1304925"/>
                    <a:gd name="connsiteX52" fmla="*/ 1261439 w 1306513"/>
                    <a:gd name="connsiteY52" fmla="*/ 958367 h 1304925"/>
                    <a:gd name="connsiteX53" fmla="*/ 1264293 w 1306513"/>
                    <a:gd name="connsiteY53" fmla="*/ 980203 h 1304925"/>
                    <a:gd name="connsiteX54" fmla="*/ 1252164 w 1306513"/>
                    <a:gd name="connsiteY54" fmla="*/ 985838 h 1304925"/>
                    <a:gd name="connsiteX55" fmla="*/ 1242176 w 1306513"/>
                    <a:gd name="connsiteY55" fmla="*/ 982316 h 1304925"/>
                    <a:gd name="connsiteX56" fmla="*/ 1224339 w 1306513"/>
                    <a:gd name="connsiteY56" fmla="*/ 968933 h 1304925"/>
                    <a:gd name="connsiteX57" fmla="*/ 1197228 w 1306513"/>
                    <a:gd name="connsiteY57" fmla="*/ 952027 h 1304925"/>
                    <a:gd name="connsiteX58" fmla="*/ 1169403 w 1306513"/>
                    <a:gd name="connsiteY58" fmla="*/ 937235 h 1304925"/>
                    <a:gd name="connsiteX59" fmla="*/ 1052397 w 1306513"/>
                    <a:gd name="connsiteY59" fmla="*/ 910468 h 1304925"/>
                    <a:gd name="connsiteX60" fmla="*/ 978197 w 1306513"/>
                    <a:gd name="connsiteY60" fmla="*/ 921034 h 1304925"/>
                    <a:gd name="connsiteX61" fmla="*/ 977484 w 1306513"/>
                    <a:gd name="connsiteY61" fmla="*/ 921034 h 1304925"/>
                    <a:gd name="connsiteX62" fmla="*/ 953940 w 1306513"/>
                    <a:gd name="connsiteY62" fmla="*/ 929487 h 1304925"/>
                    <a:gd name="connsiteX63" fmla="*/ 891156 w 1306513"/>
                    <a:gd name="connsiteY63" fmla="*/ 963298 h 1304925"/>
                    <a:gd name="connsiteX64" fmla="*/ 869039 w 1306513"/>
                    <a:gd name="connsiteY64" fmla="*/ 980203 h 1304925"/>
                    <a:gd name="connsiteX65" fmla="*/ 867612 w 1306513"/>
                    <a:gd name="connsiteY65" fmla="*/ 981612 h 1304925"/>
                    <a:gd name="connsiteX66" fmla="*/ 856910 w 1306513"/>
                    <a:gd name="connsiteY66" fmla="*/ 985838 h 1304925"/>
                    <a:gd name="connsiteX67" fmla="*/ 845495 w 1306513"/>
                    <a:gd name="connsiteY67" fmla="*/ 981612 h 1304925"/>
                    <a:gd name="connsiteX68" fmla="*/ 841928 w 1306513"/>
                    <a:gd name="connsiteY68" fmla="*/ 975977 h 1304925"/>
                    <a:gd name="connsiteX69" fmla="*/ 846208 w 1306513"/>
                    <a:gd name="connsiteY69" fmla="*/ 959071 h 1304925"/>
                    <a:gd name="connsiteX70" fmla="*/ 849776 w 1306513"/>
                    <a:gd name="connsiteY70" fmla="*/ 955549 h 1304925"/>
                    <a:gd name="connsiteX71" fmla="*/ 963928 w 1306513"/>
                    <a:gd name="connsiteY71" fmla="*/ 892859 h 1304925"/>
                    <a:gd name="connsiteX72" fmla="*/ 967496 w 1306513"/>
                    <a:gd name="connsiteY72" fmla="*/ 892154 h 1304925"/>
                    <a:gd name="connsiteX73" fmla="*/ 986759 w 1306513"/>
                    <a:gd name="connsiteY73" fmla="*/ 886519 h 1304925"/>
                    <a:gd name="connsiteX74" fmla="*/ 1051683 w 1306513"/>
                    <a:gd name="connsiteY74" fmla="*/ 879475 h 1304925"/>
                    <a:gd name="connsiteX75" fmla="*/ 653257 w 1306513"/>
                    <a:gd name="connsiteY75" fmla="*/ 0 h 1304925"/>
                    <a:gd name="connsiteX76" fmla="*/ 1114968 w 1306513"/>
                    <a:gd name="connsiteY76" fmla="*/ 191313 h 1304925"/>
                    <a:gd name="connsiteX77" fmla="*/ 1306513 w 1306513"/>
                    <a:gd name="connsiteY77" fmla="*/ 652463 h 1304925"/>
                    <a:gd name="connsiteX78" fmla="*/ 1252194 w 1306513"/>
                    <a:gd name="connsiteY78" fmla="*/ 913733 h 1304925"/>
                    <a:gd name="connsiteX79" fmla="*/ 1225035 w 1306513"/>
                    <a:gd name="connsiteY79" fmla="*/ 896601 h 1304925"/>
                    <a:gd name="connsiteX80" fmla="*/ 1275065 w 1306513"/>
                    <a:gd name="connsiteY80" fmla="*/ 652463 h 1304925"/>
                    <a:gd name="connsiteX81" fmla="*/ 653257 w 1306513"/>
                    <a:gd name="connsiteY81" fmla="*/ 31410 h 1304925"/>
                    <a:gd name="connsiteX82" fmla="*/ 31448 w 1306513"/>
                    <a:gd name="connsiteY82" fmla="*/ 652463 h 1304925"/>
                    <a:gd name="connsiteX83" fmla="*/ 653257 w 1306513"/>
                    <a:gd name="connsiteY83" fmla="*/ 1273516 h 1304925"/>
                    <a:gd name="connsiteX84" fmla="*/ 986317 w 1306513"/>
                    <a:gd name="connsiteY84" fmla="*/ 1177145 h 1304925"/>
                    <a:gd name="connsiteX85" fmla="*/ 983459 w 1306513"/>
                    <a:gd name="connsiteY85" fmla="*/ 1194992 h 1304925"/>
                    <a:gd name="connsiteX86" fmla="*/ 986317 w 1306513"/>
                    <a:gd name="connsiteY86" fmla="*/ 1214266 h 1304925"/>
                    <a:gd name="connsiteX87" fmla="*/ 653257 w 1306513"/>
                    <a:gd name="connsiteY87" fmla="*/ 1304925 h 1304925"/>
                    <a:gd name="connsiteX88" fmla="*/ 191546 w 1306513"/>
                    <a:gd name="connsiteY88" fmla="*/ 1113612 h 1304925"/>
                    <a:gd name="connsiteX89" fmla="*/ 0 w 1306513"/>
                    <a:gd name="connsiteY89" fmla="*/ 652463 h 1304925"/>
                    <a:gd name="connsiteX90" fmla="*/ 191546 w 1306513"/>
                    <a:gd name="connsiteY90" fmla="*/ 191313 h 1304925"/>
                    <a:gd name="connsiteX91" fmla="*/ 653257 w 1306513"/>
                    <a:gd name="connsiteY91"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06513" h="1304925">
                      <a:moveTo>
                        <a:pt x="1054100" y="1155700"/>
                      </a:moveTo>
                      <a:cubicBezTo>
                        <a:pt x="1058429" y="1155700"/>
                        <a:pt x="1062037" y="1156414"/>
                        <a:pt x="1066367" y="1157127"/>
                      </a:cubicBezTo>
                      <a:cubicBezTo>
                        <a:pt x="1082242" y="1162123"/>
                        <a:pt x="1093787" y="1177110"/>
                        <a:pt x="1093787" y="1194237"/>
                      </a:cubicBezTo>
                      <a:cubicBezTo>
                        <a:pt x="1093787" y="1216360"/>
                        <a:pt x="1075747" y="1233488"/>
                        <a:pt x="1054100" y="1233488"/>
                      </a:cubicBezTo>
                      <a:cubicBezTo>
                        <a:pt x="1032452" y="1233488"/>
                        <a:pt x="1015134" y="1216360"/>
                        <a:pt x="1014412" y="1194951"/>
                      </a:cubicBezTo>
                      <a:cubicBezTo>
                        <a:pt x="1014412" y="1194951"/>
                        <a:pt x="1014412" y="1194951"/>
                        <a:pt x="1014412" y="1194237"/>
                      </a:cubicBezTo>
                      <a:cubicBezTo>
                        <a:pt x="1014412" y="1172828"/>
                        <a:pt x="1032452" y="1155700"/>
                        <a:pt x="1054100" y="1155700"/>
                      </a:cubicBezTo>
                      <a:close/>
                      <a:moveTo>
                        <a:pt x="1052675" y="1065212"/>
                      </a:moveTo>
                      <a:cubicBezTo>
                        <a:pt x="1059087" y="1065212"/>
                        <a:pt x="1064787" y="1065212"/>
                        <a:pt x="1071200" y="1066666"/>
                      </a:cubicBezTo>
                      <a:cubicBezTo>
                        <a:pt x="1082600" y="1068119"/>
                        <a:pt x="1093287" y="1071753"/>
                        <a:pt x="1105400" y="1077568"/>
                      </a:cubicBezTo>
                      <a:cubicBezTo>
                        <a:pt x="1113950" y="1081202"/>
                        <a:pt x="1123212" y="1087016"/>
                        <a:pt x="1133187" y="1094284"/>
                      </a:cubicBezTo>
                      <a:cubicBezTo>
                        <a:pt x="1133900" y="1095011"/>
                        <a:pt x="1135325" y="1096465"/>
                        <a:pt x="1136750" y="1097192"/>
                      </a:cubicBezTo>
                      <a:cubicBezTo>
                        <a:pt x="1143162" y="1102279"/>
                        <a:pt x="1144587" y="1112455"/>
                        <a:pt x="1139600" y="1119723"/>
                      </a:cubicBezTo>
                      <a:cubicBezTo>
                        <a:pt x="1136037" y="1123357"/>
                        <a:pt x="1131762" y="1125537"/>
                        <a:pt x="1126775" y="1125537"/>
                      </a:cubicBezTo>
                      <a:cubicBezTo>
                        <a:pt x="1123212" y="1125537"/>
                        <a:pt x="1120362" y="1124810"/>
                        <a:pt x="1117512" y="1122630"/>
                      </a:cubicBezTo>
                      <a:cubicBezTo>
                        <a:pt x="1115375" y="1120449"/>
                        <a:pt x="1113237" y="1118996"/>
                        <a:pt x="1111100" y="1117542"/>
                      </a:cubicBezTo>
                      <a:cubicBezTo>
                        <a:pt x="1100412" y="1110274"/>
                        <a:pt x="1090437" y="1105187"/>
                        <a:pt x="1081175" y="1101552"/>
                      </a:cubicBezTo>
                      <a:cubicBezTo>
                        <a:pt x="1071200" y="1097918"/>
                        <a:pt x="1061225" y="1096465"/>
                        <a:pt x="1052675" y="1096465"/>
                      </a:cubicBezTo>
                      <a:cubicBezTo>
                        <a:pt x="1047687" y="1096465"/>
                        <a:pt x="1042700" y="1097192"/>
                        <a:pt x="1038425" y="1097918"/>
                      </a:cubicBezTo>
                      <a:cubicBezTo>
                        <a:pt x="1010637" y="1103006"/>
                        <a:pt x="993537" y="1119723"/>
                        <a:pt x="992112" y="1121176"/>
                      </a:cubicBezTo>
                      <a:cubicBezTo>
                        <a:pt x="989262" y="1124084"/>
                        <a:pt x="984987" y="1125537"/>
                        <a:pt x="981425" y="1125537"/>
                      </a:cubicBezTo>
                      <a:cubicBezTo>
                        <a:pt x="977150" y="1125537"/>
                        <a:pt x="972875" y="1124084"/>
                        <a:pt x="970025" y="1121176"/>
                      </a:cubicBezTo>
                      <a:cubicBezTo>
                        <a:pt x="963612" y="1114635"/>
                        <a:pt x="964325" y="1104460"/>
                        <a:pt x="970025" y="1098645"/>
                      </a:cubicBezTo>
                      <a:cubicBezTo>
                        <a:pt x="985700" y="1082655"/>
                        <a:pt x="1015625" y="1065212"/>
                        <a:pt x="1052675" y="1065212"/>
                      </a:cubicBezTo>
                      <a:close/>
                      <a:moveTo>
                        <a:pt x="1052397" y="973137"/>
                      </a:moveTo>
                      <a:cubicBezTo>
                        <a:pt x="1077367" y="973137"/>
                        <a:pt x="1105905" y="977444"/>
                        <a:pt x="1135869" y="990365"/>
                      </a:cubicBezTo>
                      <a:cubicBezTo>
                        <a:pt x="1145144" y="993954"/>
                        <a:pt x="1155132" y="998979"/>
                        <a:pt x="1164407" y="1004721"/>
                      </a:cubicBezTo>
                      <a:cubicBezTo>
                        <a:pt x="1172968" y="1009746"/>
                        <a:pt x="1182243" y="1015489"/>
                        <a:pt x="1191518" y="1021949"/>
                      </a:cubicBezTo>
                      <a:cubicBezTo>
                        <a:pt x="1193658" y="1023385"/>
                        <a:pt x="1195799" y="1025538"/>
                        <a:pt x="1197939" y="1026974"/>
                      </a:cubicBezTo>
                      <a:cubicBezTo>
                        <a:pt x="1205073" y="1032717"/>
                        <a:pt x="1206500" y="1042048"/>
                        <a:pt x="1200793" y="1049227"/>
                      </a:cubicBezTo>
                      <a:cubicBezTo>
                        <a:pt x="1197939" y="1053534"/>
                        <a:pt x="1192945" y="1055687"/>
                        <a:pt x="1188664" y="1055687"/>
                      </a:cubicBezTo>
                      <a:cubicBezTo>
                        <a:pt x="1185097" y="1055687"/>
                        <a:pt x="1181530" y="1054251"/>
                        <a:pt x="1178676" y="1052098"/>
                      </a:cubicBezTo>
                      <a:cubicBezTo>
                        <a:pt x="1176536" y="1050662"/>
                        <a:pt x="1175109" y="1049227"/>
                        <a:pt x="1172968" y="1047791"/>
                      </a:cubicBezTo>
                      <a:cubicBezTo>
                        <a:pt x="1163694" y="1040613"/>
                        <a:pt x="1154419" y="1034870"/>
                        <a:pt x="1145858" y="1030563"/>
                      </a:cubicBezTo>
                      <a:cubicBezTo>
                        <a:pt x="1135869" y="1024821"/>
                        <a:pt x="1125881" y="1019796"/>
                        <a:pt x="1116607" y="1016207"/>
                      </a:cubicBezTo>
                      <a:cubicBezTo>
                        <a:pt x="1093776" y="1007593"/>
                        <a:pt x="1071660" y="1004004"/>
                        <a:pt x="1052397" y="1004004"/>
                      </a:cubicBezTo>
                      <a:cubicBezTo>
                        <a:pt x="1044549" y="1004004"/>
                        <a:pt x="1036701" y="1004721"/>
                        <a:pt x="1029567" y="1005439"/>
                      </a:cubicBezTo>
                      <a:cubicBezTo>
                        <a:pt x="1016725" y="1007593"/>
                        <a:pt x="1004596" y="1010464"/>
                        <a:pt x="993894" y="1014771"/>
                      </a:cubicBezTo>
                      <a:cubicBezTo>
                        <a:pt x="956082" y="1027692"/>
                        <a:pt x="933252" y="1049227"/>
                        <a:pt x="931112" y="1051380"/>
                      </a:cubicBezTo>
                      <a:cubicBezTo>
                        <a:pt x="929685" y="1052816"/>
                        <a:pt x="927544" y="1054251"/>
                        <a:pt x="925404" y="1054969"/>
                      </a:cubicBezTo>
                      <a:cubicBezTo>
                        <a:pt x="923977" y="1054969"/>
                        <a:pt x="921837" y="1055687"/>
                        <a:pt x="920410" y="1055687"/>
                      </a:cubicBezTo>
                      <a:cubicBezTo>
                        <a:pt x="916129" y="1055687"/>
                        <a:pt x="911849" y="1053534"/>
                        <a:pt x="908995" y="1050662"/>
                      </a:cubicBezTo>
                      <a:cubicBezTo>
                        <a:pt x="907568" y="1049227"/>
                        <a:pt x="906141" y="1047073"/>
                        <a:pt x="905428" y="1044920"/>
                      </a:cubicBezTo>
                      <a:cubicBezTo>
                        <a:pt x="903287" y="1039177"/>
                        <a:pt x="904714" y="1032717"/>
                        <a:pt x="909708" y="1028410"/>
                      </a:cubicBezTo>
                      <a:cubicBezTo>
                        <a:pt x="909708" y="1028410"/>
                        <a:pt x="911135" y="1026256"/>
                        <a:pt x="913989" y="1024103"/>
                      </a:cubicBezTo>
                      <a:cubicBezTo>
                        <a:pt x="923264" y="1016207"/>
                        <a:pt x="946807" y="998261"/>
                        <a:pt x="980339" y="986058"/>
                      </a:cubicBezTo>
                      <a:cubicBezTo>
                        <a:pt x="984620" y="984622"/>
                        <a:pt x="989614" y="983187"/>
                        <a:pt x="993894" y="981751"/>
                      </a:cubicBezTo>
                      <a:cubicBezTo>
                        <a:pt x="1010304" y="976726"/>
                        <a:pt x="1030280" y="973137"/>
                        <a:pt x="1052397" y="973137"/>
                      </a:cubicBezTo>
                      <a:close/>
                      <a:moveTo>
                        <a:pt x="1051683" y="879475"/>
                      </a:moveTo>
                      <a:cubicBezTo>
                        <a:pt x="1090923" y="879475"/>
                        <a:pt x="1135871" y="887928"/>
                        <a:pt x="1183672" y="910468"/>
                      </a:cubicBezTo>
                      <a:cubicBezTo>
                        <a:pt x="1192947" y="914695"/>
                        <a:pt x="1202222" y="919625"/>
                        <a:pt x="1211497" y="924556"/>
                      </a:cubicBezTo>
                      <a:cubicBezTo>
                        <a:pt x="1220772" y="929487"/>
                        <a:pt x="1230047" y="935122"/>
                        <a:pt x="1238608" y="941462"/>
                      </a:cubicBezTo>
                      <a:cubicBezTo>
                        <a:pt x="1246456" y="947097"/>
                        <a:pt x="1254304" y="952027"/>
                        <a:pt x="1261439" y="958367"/>
                      </a:cubicBezTo>
                      <a:cubicBezTo>
                        <a:pt x="1268573" y="963298"/>
                        <a:pt x="1270000" y="973159"/>
                        <a:pt x="1264293" y="980203"/>
                      </a:cubicBezTo>
                      <a:cubicBezTo>
                        <a:pt x="1261439" y="983725"/>
                        <a:pt x="1256445" y="985838"/>
                        <a:pt x="1252164" y="985838"/>
                      </a:cubicBezTo>
                      <a:cubicBezTo>
                        <a:pt x="1248597" y="985838"/>
                        <a:pt x="1245029" y="985134"/>
                        <a:pt x="1242176" y="982316"/>
                      </a:cubicBezTo>
                      <a:cubicBezTo>
                        <a:pt x="1236468" y="978090"/>
                        <a:pt x="1230047" y="973159"/>
                        <a:pt x="1224339" y="968933"/>
                      </a:cubicBezTo>
                      <a:cubicBezTo>
                        <a:pt x="1215064" y="963298"/>
                        <a:pt x="1206503" y="957662"/>
                        <a:pt x="1197228" y="952027"/>
                      </a:cubicBezTo>
                      <a:cubicBezTo>
                        <a:pt x="1187953" y="947097"/>
                        <a:pt x="1178678" y="942166"/>
                        <a:pt x="1169403" y="937235"/>
                      </a:cubicBezTo>
                      <a:cubicBezTo>
                        <a:pt x="1130877" y="919625"/>
                        <a:pt x="1091637" y="910468"/>
                        <a:pt x="1052397" y="910468"/>
                      </a:cubicBezTo>
                      <a:cubicBezTo>
                        <a:pt x="1027426" y="910468"/>
                        <a:pt x="1002455" y="913990"/>
                        <a:pt x="978197" y="921034"/>
                      </a:cubicBezTo>
                      <a:cubicBezTo>
                        <a:pt x="978197" y="921034"/>
                        <a:pt x="978197" y="921034"/>
                        <a:pt x="977484" y="921034"/>
                      </a:cubicBezTo>
                      <a:cubicBezTo>
                        <a:pt x="969636" y="923852"/>
                        <a:pt x="961074" y="926669"/>
                        <a:pt x="953940" y="929487"/>
                      </a:cubicBezTo>
                      <a:cubicBezTo>
                        <a:pt x="927542" y="940053"/>
                        <a:pt x="906139" y="952732"/>
                        <a:pt x="891156" y="963298"/>
                      </a:cubicBezTo>
                      <a:cubicBezTo>
                        <a:pt x="879741" y="971046"/>
                        <a:pt x="872606" y="977385"/>
                        <a:pt x="869039" y="980203"/>
                      </a:cubicBezTo>
                      <a:cubicBezTo>
                        <a:pt x="868325" y="980907"/>
                        <a:pt x="867612" y="981612"/>
                        <a:pt x="867612" y="981612"/>
                      </a:cubicBezTo>
                      <a:cubicBezTo>
                        <a:pt x="864758" y="984429"/>
                        <a:pt x="861191" y="985838"/>
                        <a:pt x="856910" y="985838"/>
                      </a:cubicBezTo>
                      <a:cubicBezTo>
                        <a:pt x="852629" y="985838"/>
                        <a:pt x="849062" y="984429"/>
                        <a:pt x="845495" y="981612"/>
                      </a:cubicBezTo>
                      <a:cubicBezTo>
                        <a:pt x="844068" y="979499"/>
                        <a:pt x="843355" y="978090"/>
                        <a:pt x="841928" y="975977"/>
                      </a:cubicBezTo>
                      <a:cubicBezTo>
                        <a:pt x="839787" y="970342"/>
                        <a:pt x="841214" y="964002"/>
                        <a:pt x="846208" y="959071"/>
                      </a:cubicBezTo>
                      <a:cubicBezTo>
                        <a:pt x="846208" y="959071"/>
                        <a:pt x="847635" y="957662"/>
                        <a:pt x="849776" y="955549"/>
                      </a:cubicBezTo>
                      <a:cubicBezTo>
                        <a:pt x="862618" y="944279"/>
                        <a:pt x="903285" y="911877"/>
                        <a:pt x="963928" y="892859"/>
                      </a:cubicBezTo>
                      <a:cubicBezTo>
                        <a:pt x="965355" y="892859"/>
                        <a:pt x="966069" y="892154"/>
                        <a:pt x="967496" y="892154"/>
                      </a:cubicBezTo>
                      <a:cubicBezTo>
                        <a:pt x="973917" y="890041"/>
                        <a:pt x="980338" y="888632"/>
                        <a:pt x="986759" y="886519"/>
                      </a:cubicBezTo>
                      <a:cubicBezTo>
                        <a:pt x="1006022" y="882293"/>
                        <a:pt x="1028139" y="879475"/>
                        <a:pt x="1051683" y="879475"/>
                      </a:cubicBezTo>
                      <a:close/>
                      <a:moveTo>
                        <a:pt x="653257" y="0"/>
                      </a:moveTo>
                      <a:cubicBezTo>
                        <a:pt x="827649" y="0"/>
                        <a:pt x="992035" y="67816"/>
                        <a:pt x="1114968" y="191313"/>
                      </a:cubicBezTo>
                      <a:cubicBezTo>
                        <a:pt x="1238615" y="314096"/>
                        <a:pt x="1306513" y="478282"/>
                        <a:pt x="1306513" y="652463"/>
                      </a:cubicBezTo>
                      <a:cubicBezTo>
                        <a:pt x="1306513" y="743836"/>
                        <a:pt x="1287930" y="832354"/>
                        <a:pt x="1252194" y="913733"/>
                      </a:cubicBezTo>
                      <a:cubicBezTo>
                        <a:pt x="1242903" y="907309"/>
                        <a:pt x="1234326" y="901598"/>
                        <a:pt x="1225035" y="896601"/>
                      </a:cubicBezTo>
                      <a:cubicBezTo>
                        <a:pt x="1257197" y="821646"/>
                        <a:pt x="1275065" y="738839"/>
                        <a:pt x="1275065" y="652463"/>
                      </a:cubicBezTo>
                      <a:cubicBezTo>
                        <a:pt x="1275065" y="309813"/>
                        <a:pt x="996324" y="31410"/>
                        <a:pt x="653257" y="31410"/>
                      </a:cubicBezTo>
                      <a:cubicBezTo>
                        <a:pt x="310190" y="31410"/>
                        <a:pt x="31448" y="309813"/>
                        <a:pt x="31448" y="652463"/>
                      </a:cubicBezTo>
                      <a:cubicBezTo>
                        <a:pt x="31448" y="995113"/>
                        <a:pt x="310190" y="1273516"/>
                        <a:pt x="653257" y="1273516"/>
                      </a:cubicBezTo>
                      <a:cubicBezTo>
                        <a:pt x="775474" y="1273516"/>
                        <a:pt x="889830" y="1237823"/>
                        <a:pt x="986317" y="1177145"/>
                      </a:cubicBezTo>
                      <a:cubicBezTo>
                        <a:pt x="984173" y="1182856"/>
                        <a:pt x="983459" y="1189281"/>
                        <a:pt x="983459" y="1194992"/>
                      </a:cubicBezTo>
                      <a:cubicBezTo>
                        <a:pt x="983459" y="1202130"/>
                        <a:pt x="984173" y="1207841"/>
                        <a:pt x="986317" y="1214266"/>
                      </a:cubicBezTo>
                      <a:cubicBezTo>
                        <a:pt x="886256" y="1273516"/>
                        <a:pt x="772615" y="1304925"/>
                        <a:pt x="653257" y="1304925"/>
                      </a:cubicBezTo>
                      <a:cubicBezTo>
                        <a:pt x="478864" y="1304925"/>
                        <a:pt x="314478" y="1237109"/>
                        <a:pt x="191546" y="1113612"/>
                      </a:cubicBezTo>
                      <a:cubicBezTo>
                        <a:pt x="67899" y="990829"/>
                        <a:pt x="0" y="826643"/>
                        <a:pt x="0" y="652463"/>
                      </a:cubicBezTo>
                      <a:cubicBezTo>
                        <a:pt x="0" y="478282"/>
                        <a:pt x="67899" y="314096"/>
                        <a:pt x="191546" y="191313"/>
                      </a:cubicBezTo>
                      <a:cubicBezTo>
                        <a:pt x="314478" y="67816"/>
                        <a:pt x="478864" y="0"/>
                        <a:pt x="65325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sp>
        <p:nvSpPr>
          <p:cNvPr id="55" name="ee4pFootnotes">
            <a:extLst>
              <a:ext uri="{FF2B5EF4-FFF2-40B4-BE49-F238E27FC236}">
                <a16:creationId xmlns:a16="http://schemas.microsoft.com/office/drawing/2014/main" id="{122FBACB-B20A-A512-3ADA-A5260E598B8F}"/>
              </a:ext>
            </a:extLst>
          </p:cNvPr>
          <p:cNvSpPr>
            <a:spLocks noChangeArrowheads="1"/>
          </p:cNvSpPr>
          <p:nvPr/>
        </p:nvSpPr>
        <p:spPr bwMode="auto">
          <a:xfrm>
            <a:off x="4377841" y="6282941"/>
            <a:ext cx="718415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rPr>
              <a:t>1. With the exception of "donut" </a:t>
            </a:r>
            <a:r>
              <a:rPr lang="en-US" sz="1000" err="1">
                <a:solidFill>
                  <a:schemeClr val="bg1">
                    <a:lumMod val="50000"/>
                  </a:schemeClr>
                </a:solidFill>
              </a:rPr>
              <a:t>CBGs</a:t>
            </a:r>
            <a:r>
              <a:rPr lang="en-US" sz="1000">
                <a:solidFill>
                  <a:schemeClr val="bg1">
                    <a:lumMod val="50000"/>
                  </a:schemeClr>
                </a:solidFill>
              </a:rPr>
              <a:t>, where bidders must bid for both the outer and inner </a:t>
            </a:r>
            <a:r>
              <a:rPr lang="en-US" sz="1000" err="1">
                <a:solidFill>
                  <a:schemeClr val="bg1">
                    <a:lumMod val="50000"/>
                  </a:schemeClr>
                </a:solidFill>
              </a:rPr>
              <a:t>CBGs</a:t>
            </a:r>
            <a:r>
              <a:rPr lang="en-US" sz="1000">
                <a:solidFill>
                  <a:schemeClr val="bg1">
                    <a:lumMod val="50000"/>
                  </a:schemeClr>
                </a:solidFill>
              </a:rPr>
              <a:t> together in the case where one sits inside the other </a:t>
            </a:r>
          </a:p>
        </p:txBody>
      </p:sp>
    </p:spTree>
    <p:extLst>
      <p:ext uri="{BB962C8B-B14F-4D97-AF65-F5344CB8AC3E}">
        <p14:creationId xmlns:p14="http://schemas.microsoft.com/office/powerpoint/2010/main" val="482243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7CE4E3-B01A-7B11-46EC-442A76C00168}"/>
              </a:ext>
            </a:extLst>
          </p:cNvPr>
          <p:cNvGraphicFramePr>
            <a:graphicFrameLocks noChangeAspect="1"/>
          </p:cNvGraphicFramePr>
          <p:nvPr>
            <p:custDataLst>
              <p:tags r:id="rId2"/>
            </p:custDataLst>
            <p:extLst>
              <p:ext uri="{D42A27DB-BD31-4B8C-83A1-F6EECF244321}">
                <p14:modId xmlns:p14="http://schemas.microsoft.com/office/powerpoint/2010/main" val="282667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think-cell data - do not delete" hidden="1">
                        <a:extLst>
                          <a:ext uri="{FF2B5EF4-FFF2-40B4-BE49-F238E27FC236}">
                            <a16:creationId xmlns:a16="http://schemas.microsoft.com/office/drawing/2014/main" id="{1E7CE4E3-B01A-7B11-46EC-442A76C001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33F0A7EE-1539-7B70-26B4-6A23F4F72BCA}"/>
              </a:ext>
            </a:extLst>
          </p:cNvPr>
          <p:cNvSpPr/>
          <p:nvPr/>
        </p:nvSpPr>
        <p:spPr>
          <a:xfrm>
            <a:off x="630000" y="2650496"/>
            <a:ext cx="10933350" cy="3584704"/>
          </a:xfrm>
          <a:prstGeom prst="roundRect">
            <a:avLst>
              <a:gd name="adj" fmla="val 990"/>
            </a:avLst>
          </a:prstGeom>
          <a:noFill/>
          <a:ln w="6350"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57FDE06-AAEB-1E3C-0201-432E72A2ECC1}"/>
              </a:ext>
            </a:extLst>
          </p:cNvPr>
          <p:cNvSpPr>
            <a:spLocks noGrp="1"/>
          </p:cNvSpPr>
          <p:nvPr>
            <p:ph type="title"/>
          </p:nvPr>
        </p:nvSpPr>
        <p:spPr>
          <a:xfrm>
            <a:off x="630000" y="622800"/>
            <a:ext cx="10933350" cy="332399"/>
          </a:xfrm>
        </p:spPr>
        <p:txBody>
          <a:bodyPr vert="horz"/>
          <a:lstStyle/>
          <a:p>
            <a:r>
              <a:rPr lang="en-US"/>
              <a:t>Tranche-3 deconfliction scenarios and adjudication results</a:t>
            </a:r>
            <a:endParaRPr lang="en-US">
              <a:latin typeface="+mj-lt"/>
            </a:endParaRPr>
          </a:p>
        </p:txBody>
      </p:sp>
      <p:sp>
        <p:nvSpPr>
          <p:cNvPr id="12" name="TextBox 11">
            <a:extLst>
              <a:ext uri="{FF2B5EF4-FFF2-40B4-BE49-F238E27FC236}">
                <a16:creationId xmlns:a16="http://schemas.microsoft.com/office/drawing/2014/main" id="{B7B0E4F4-ED6D-E9E9-7AE3-ABD571F88961}"/>
              </a:ext>
            </a:extLst>
          </p:cNvPr>
          <p:cNvSpPr txBox="1"/>
          <p:nvPr/>
        </p:nvSpPr>
        <p:spPr>
          <a:xfrm>
            <a:off x="7928897" y="2387714"/>
            <a:ext cx="3358017" cy="619125"/>
          </a:xfrm>
          <a:prstGeom prst="round2SameRect">
            <a:avLst>
              <a:gd name="adj1" fmla="val 117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algn="ctr">
              <a:lnSpc>
                <a:spcPct val="95000"/>
              </a:lnSpc>
              <a:defRPr kern="0">
                <a:solidFill>
                  <a:schemeClr val="bg1"/>
                </a:solidFill>
              </a:defRPr>
            </a:lvl1pPr>
          </a:lstStyle>
          <a:p>
            <a:pPr marL="0" marR="0" lvl="0" indent="0"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Scenario 3: Alt tech only</a:t>
            </a:r>
          </a:p>
        </p:txBody>
      </p:sp>
      <p:sp>
        <p:nvSpPr>
          <p:cNvPr id="20" name="Isosceles Triangle 19">
            <a:extLst>
              <a:ext uri="{FF2B5EF4-FFF2-40B4-BE49-F238E27FC236}">
                <a16:creationId xmlns:a16="http://schemas.microsoft.com/office/drawing/2014/main" id="{8489B4CF-A3BC-BA95-E7FF-B48C2884BB0B}"/>
              </a:ext>
            </a:extLst>
          </p:cNvPr>
          <p:cNvSpPr/>
          <p:nvPr/>
        </p:nvSpPr>
        <p:spPr>
          <a:xfrm rot="10800000">
            <a:off x="711628" y="2650494"/>
            <a:ext cx="67470" cy="356343"/>
          </a:xfrm>
          <a:prstGeom prst="triangle">
            <a:avLst>
              <a:gd name="adj" fmla="val 0"/>
            </a:avLst>
          </a:prstGeom>
          <a:solidFill>
            <a:schemeClr val="tx2">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6" name="TextBox 5">
            <a:extLst>
              <a:ext uri="{FF2B5EF4-FFF2-40B4-BE49-F238E27FC236}">
                <a16:creationId xmlns:a16="http://schemas.microsoft.com/office/drawing/2014/main" id="{076D5C58-9168-1DB2-FF8E-D6030111BF28}"/>
              </a:ext>
            </a:extLst>
          </p:cNvPr>
          <p:cNvSpPr txBox="1"/>
          <p:nvPr/>
        </p:nvSpPr>
        <p:spPr>
          <a:xfrm>
            <a:off x="4353998" y="2387714"/>
            <a:ext cx="3358017" cy="619125"/>
          </a:xfrm>
          <a:prstGeom prst="round2SameRect">
            <a:avLst>
              <a:gd name="adj1" fmla="val 117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algn="ctr">
              <a:lnSpc>
                <a:spcPct val="95000"/>
              </a:lnSpc>
              <a:defRPr kern="0">
                <a:solidFill>
                  <a:schemeClr val="bg1"/>
                </a:solidFill>
              </a:defRPr>
            </a:lvl1pPr>
          </a:lstStyle>
          <a:p>
            <a:pPr marL="0" marR="0" lvl="0" indent="0"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Scenario 2: Non-Priority and Alt tech</a:t>
            </a:r>
          </a:p>
        </p:txBody>
      </p:sp>
      <p:cxnSp>
        <p:nvCxnSpPr>
          <p:cNvPr id="456" name="Straight Connector 455">
            <a:extLst>
              <a:ext uri="{FF2B5EF4-FFF2-40B4-BE49-F238E27FC236}">
                <a16:creationId xmlns:a16="http://schemas.microsoft.com/office/drawing/2014/main" id="{880F9C0F-5BC5-0A3F-5819-B9AD64D95855}"/>
              </a:ext>
            </a:extLst>
          </p:cNvPr>
          <p:cNvCxnSpPr/>
          <p:nvPr/>
        </p:nvCxnSpPr>
        <p:spPr>
          <a:xfrm>
            <a:off x="7867376" y="2849570"/>
            <a:ext cx="0" cy="3385631"/>
          </a:xfrm>
          <a:prstGeom prst="line">
            <a:avLst/>
          </a:prstGeom>
          <a:ln w="6350"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AA1CA305-F1A3-0C79-819E-4B750177B324}"/>
              </a:ext>
            </a:extLst>
          </p:cNvPr>
          <p:cNvCxnSpPr>
            <a:cxnSpLocks/>
          </p:cNvCxnSpPr>
          <p:nvPr/>
        </p:nvCxnSpPr>
        <p:spPr>
          <a:xfrm>
            <a:off x="796607" y="6127681"/>
            <a:ext cx="3323001"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8CB4B87B-ECF0-9123-B032-422915C6FE92}"/>
              </a:ext>
            </a:extLst>
          </p:cNvPr>
          <p:cNvCxnSpPr>
            <a:cxnSpLocks/>
          </p:cNvCxnSpPr>
          <p:nvPr/>
        </p:nvCxnSpPr>
        <p:spPr>
          <a:xfrm>
            <a:off x="7939279" y="6127681"/>
            <a:ext cx="3532059"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0DB034E-BAD7-310C-4F9C-9533F92200AD}"/>
              </a:ext>
            </a:extLst>
          </p:cNvPr>
          <p:cNvCxnSpPr/>
          <p:nvPr/>
        </p:nvCxnSpPr>
        <p:spPr>
          <a:xfrm>
            <a:off x="4191511" y="2849570"/>
            <a:ext cx="0" cy="3385631"/>
          </a:xfrm>
          <a:prstGeom prst="line">
            <a:avLst/>
          </a:prstGeom>
          <a:ln w="6350" cap="rnd">
            <a:solidFill>
              <a:schemeClr val="bg1">
                <a:lumMod val="8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1AB02F9-2975-72BB-34CA-93AA1E5F712F}"/>
              </a:ext>
            </a:extLst>
          </p:cNvPr>
          <p:cNvSpPr txBox="1"/>
          <p:nvPr/>
        </p:nvSpPr>
        <p:spPr>
          <a:xfrm>
            <a:off x="779099" y="2387713"/>
            <a:ext cx="3358017" cy="619125"/>
          </a:xfrm>
          <a:prstGeom prst="round2SameRect">
            <a:avLst>
              <a:gd name="adj1" fmla="val 1173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defPPr>
              <a:defRPr lang="en-US"/>
            </a:defPPr>
            <a:lvl1pPr algn="ctr">
              <a:lnSpc>
                <a:spcPct val="95000"/>
              </a:lnSpc>
              <a:defRPr kern="0">
                <a:solidFill>
                  <a:schemeClr val="bg1"/>
                </a:solidFill>
              </a:defRPr>
            </a:lvl1pPr>
          </a:lstStyle>
          <a:p>
            <a:pPr marL="0" marR="0" lvl="0" indent="0"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t>Scenario 1: All tech types</a:t>
            </a:r>
          </a:p>
        </p:txBody>
      </p:sp>
      <p:sp>
        <p:nvSpPr>
          <p:cNvPr id="51" name="Isosceles Triangle 50">
            <a:extLst>
              <a:ext uri="{FF2B5EF4-FFF2-40B4-BE49-F238E27FC236}">
                <a16:creationId xmlns:a16="http://schemas.microsoft.com/office/drawing/2014/main" id="{BCC5792C-9D3E-F361-5460-33C912CD55A8}"/>
              </a:ext>
            </a:extLst>
          </p:cNvPr>
          <p:cNvSpPr/>
          <p:nvPr/>
        </p:nvSpPr>
        <p:spPr>
          <a:xfrm rot="10800000">
            <a:off x="4285915" y="2650494"/>
            <a:ext cx="67470" cy="356343"/>
          </a:xfrm>
          <a:prstGeom prst="triangle">
            <a:avLst>
              <a:gd name="adj" fmla="val 0"/>
            </a:avLst>
          </a:prstGeom>
          <a:solidFill>
            <a:schemeClr val="tx2">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52" name="Isosceles Triangle 51">
            <a:extLst>
              <a:ext uri="{FF2B5EF4-FFF2-40B4-BE49-F238E27FC236}">
                <a16:creationId xmlns:a16="http://schemas.microsoft.com/office/drawing/2014/main" id="{2E8AB650-95E5-3362-8B64-BAF105EB2081}"/>
              </a:ext>
            </a:extLst>
          </p:cNvPr>
          <p:cNvSpPr/>
          <p:nvPr/>
        </p:nvSpPr>
        <p:spPr>
          <a:xfrm rot="10800000">
            <a:off x="7868926" y="2650494"/>
            <a:ext cx="67470" cy="356343"/>
          </a:xfrm>
          <a:prstGeom prst="triangle">
            <a:avLst>
              <a:gd name="adj" fmla="val 0"/>
            </a:avLst>
          </a:prstGeom>
          <a:solidFill>
            <a:schemeClr val="tx2">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Calibri" panose="020F0502020204030204" pitchFamily="34" charset="0"/>
              <a:cs typeface="Arial" panose="020B0604020202020204" pitchFamily="34" charset="0"/>
              <a:sym typeface="Arial" panose="020B0604020202020204" pitchFamily="34" charset="0"/>
            </a:endParaRPr>
          </a:p>
        </p:txBody>
      </p:sp>
      <p:cxnSp>
        <p:nvCxnSpPr>
          <p:cNvPr id="8" name="Straight Connector 7">
            <a:extLst>
              <a:ext uri="{FF2B5EF4-FFF2-40B4-BE49-F238E27FC236}">
                <a16:creationId xmlns:a16="http://schemas.microsoft.com/office/drawing/2014/main" id="{C1AEE82F-9323-79CA-68DB-28481A6EF7C2}"/>
              </a:ext>
            </a:extLst>
          </p:cNvPr>
          <p:cNvCxnSpPr>
            <a:cxnSpLocks/>
          </p:cNvCxnSpPr>
          <p:nvPr/>
        </p:nvCxnSpPr>
        <p:spPr>
          <a:xfrm>
            <a:off x="4263414" y="6127681"/>
            <a:ext cx="3532059" cy="0"/>
          </a:xfrm>
          <a:prstGeom prst="line">
            <a:avLst/>
          </a:prstGeom>
          <a:ln w="2857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D43CB2C-9CF0-B43D-AE4C-E7A3C77C5032}"/>
              </a:ext>
            </a:extLst>
          </p:cNvPr>
          <p:cNvSpPr txBox="1"/>
          <p:nvPr/>
        </p:nvSpPr>
        <p:spPr>
          <a:xfrm>
            <a:off x="630000" y="1327098"/>
            <a:ext cx="10933350" cy="63094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spcAft>
                <a:spcPts val="600"/>
              </a:spcAft>
              <a:defRPr/>
            </a:pPr>
            <a:r>
              <a:rPr lang="en-US" sz="1600" b="1">
                <a:solidFill>
                  <a:schemeClr val="tx2"/>
                </a:solidFill>
              </a:rPr>
              <a:t>Tranche-3 rules of adjudication</a:t>
            </a:r>
          </a:p>
          <a:p>
            <a:pPr marL="324000" lvl="1" indent="-216000">
              <a:spcAft>
                <a:spcPts val="300"/>
              </a:spcAft>
              <a:buClr>
                <a:schemeClr val="tx2"/>
              </a:buClr>
              <a:buFont typeface="Trebuchet MS" panose="020B0603020202020204" pitchFamily="34" charset="0"/>
              <a:buChar char="•"/>
            </a:pPr>
            <a:r>
              <a:rPr lang="en-US" sz="1400" b="1">
                <a:solidFill>
                  <a:schemeClr val="tx1"/>
                </a:solidFill>
              </a:rPr>
              <a:t>Rule #1: </a:t>
            </a:r>
            <a:r>
              <a:rPr lang="en-US" sz="1400">
                <a:solidFill>
                  <a:schemeClr val="tx1"/>
                </a:solidFill>
              </a:rPr>
              <a:t>Preliminary selections will be the </a:t>
            </a:r>
            <a:r>
              <a:rPr lang="en-US" sz="1400" b="1">
                <a:solidFill>
                  <a:schemeClr val="tx1"/>
                </a:solidFill>
              </a:rPr>
              <a:t>highest score </a:t>
            </a:r>
            <a:r>
              <a:rPr lang="en-US" sz="1400">
                <a:solidFill>
                  <a:schemeClr val="tx1"/>
                </a:solidFill>
              </a:rPr>
              <a:t>of the </a:t>
            </a:r>
            <a:r>
              <a:rPr lang="en-US" sz="1400" b="1">
                <a:solidFill>
                  <a:schemeClr val="tx1"/>
                </a:solidFill>
              </a:rPr>
              <a:t>highest technology type </a:t>
            </a:r>
            <a:r>
              <a:rPr lang="en-US" sz="1400">
                <a:solidFill>
                  <a:schemeClr val="tx1"/>
                </a:solidFill>
              </a:rPr>
              <a:t>or are the sole bidder on their project area</a:t>
            </a:r>
          </a:p>
        </p:txBody>
      </p:sp>
      <p:graphicFrame>
        <p:nvGraphicFramePr>
          <p:cNvPr id="28" name="Table 27">
            <a:extLst>
              <a:ext uri="{FF2B5EF4-FFF2-40B4-BE49-F238E27FC236}">
                <a16:creationId xmlns:a16="http://schemas.microsoft.com/office/drawing/2014/main" id="{C6A470FB-6621-212B-5AFD-D6E97B7DE5F6}"/>
              </a:ext>
            </a:extLst>
          </p:cNvPr>
          <p:cNvGraphicFramePr>
            <a:graphicFrameLocks noGrp="1"/>
          </p:cNvGraphicFramePr>
          <p:nvPr>
            <p:extLst>
              <p:ext uri="{D42A27DB-BD31-4B8C-83A1-F6EECF244321}">
                <p14:modId xmlns:p14="http://schemas.microsoft.com/office/powerpoint/2010/main" val="236553916"/>
              </p:ext>
            </p:extLst>
          </p:nvPr>
        </p:nvGraphicFramePr>
        <p:xfrm>
          <a:off x="779099" y="3112345"/>
          <a:ext cx="3358017" cy="2907816"/>
        </p:xfrm>
        <a:graphic>
          <a:graphicData uri="http://schemas.openxmlformats.org/drawingml/2006/table">
            <a:tbl>
              <a:tblPr firstRow="1" bandRow="1">
                <a:tableStyleId>{5C22544A-7EE6-4342-B048-85BDC9FD1C3A}</a:tableStyleId>
              </a:tblPr>
              <a:tblGrid>
                <a:gridCol w="1119339">
                  <a:extLst>
                    <a:ext uri="{9D8B030D-6E8A-4147-A177-3AD203B41FA5}">
                      <a16:colId xmlns:a16="http://schemas.microsoft.com/office/drawing/2014/main" val="1296621699"/>
                    </a:ext>
                  </a:extLst>
                </a:gridCol>
                <a:gridCol w="1119339">
                  <a:extLst>
                    <a:ext uri="{9D8B030D-6E8A-4147-A177-3AD203B41FA5}">
                      <a16:colId xmlns:a16="http://schemas.microsoft.com/office/drawing/2014/main" val="3683216651"/>
                    </a:ext>
                  </a:extLst>
                </a:gridCol>
                <a:gridCol w="1119339">
                  <a:extLst>
                    <a:ext uri="{9D8B030D-6E8A-4147-A177-3AD203B41FA5}">
                      <a16:colId xmlns:a16="http://schemas.microsoft.com/office/drawing/2014/main" val="3853661544"/>
                    </a:ext>
                  </a:extLst>
                </a:gridCol>
              </a:tblGrid>
              <a:tr h="484636">
                <a:tc>
                  <a:txBody>
                    <a:bodyPr/>
                    <a:lstStyle/>
                    <a:p>
                      <a:pPr algn="ctr"/>
                      <a:r>
                        <a:rPr lang="en-US" sz="1200" b="0">
                          <a:solidFill>
                            <a:schemeClr val="tx2"/>
                          </a:solidFill>
                        </a:rPr>
                        <a:t>Bid</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Tech type</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Score</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8383735"/>
                  </a:ext>
                </a:extLst>
              </a:tr>
              <a:tr h="484636">
                <a:tc>
                  <a:txBody>
                    <a:bodyPr/>
                    <a:lstStyle/>
                    <a:p>
                      <a:pPr algn="ctr"/>
                      <a:r>
                        <a:rPr lang="en-US" sz="1200"/>
                        <a:t>A</a:t>
                      </a:r>
                    </a:p>
                  </a:txBody>
                  <a:tcPr anchor="ctr">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r>
                        <a:rPr lang="en-US" sz="1200"/>
                        <a:t>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pPr algn="ctr"/>
                      <a:r>
                        <a:rPr lang="en-US" sz="1200"/>
                        <a:t>70</a:t>
                      </a:r>
                    </a:p>
                  </a:txBody>
                  <a:tcPr anchor="ctr">
                    <a:lnL w="12700" cap="flat" cmpd="sng" algn="ctr">
                      <a:noFill/>
                      <a:prstDash val="sysDot"/>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extLst>
                  <a:ext uri="{0D108BD9-81ED-4DB2-BD59-A6C34878D82A}">
                    <a16:rowId xmlns:a16="http://schemas.microsoft.com/office/drawing/2014/main" val="2332445476"/>
                  </a:ext>
                </a:extLst>
              </a:tr>
              <a:tr h="484636">
                <a:tc>
                  <a:txBody>
                    <a:bodyPr/>
                    <a:lstStyle/>
                    <a:p>
                      <a:pPr algn="ctr"/>
                      <a:r>
                        <a:rPr lang="en-US" sz="1200"/>
                        <a:t>B</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6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35118035"/>
                  </a:ext>
                </a:extLst>
              </a:tr>
              <a:tr h="484636">
                <a:tc>
                  <a:txBody>
                    <a:bodyPr/>
                    <a:lstStyle/>
                    <a:p>
                      <a:pPr algn="ctr"/>
                      <a:r>
                        <a:rPr lang="en-US" sz="1200"/>
                        <a:t>C</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en-US" sz="1200"/>
                        <a:t>Non-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8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856109200"/>
                  </a:ext>
                </a:extLst>
              </a:tr>
              <a:tr h="484636">
                <a:tc>
                  <a:txBody>
                    <a:bodyPr/>
                    <a:lstStyle/>
                    <a:p>
                      <a:pPr algn="ctr"/>
                      <a:r>
                        <a:rPr lang="en-US" sz="1200"/>
                        <a:t>D</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Non-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7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44797697"/>
                  </a:ext>
                </a:extLst>
              </a:tr>
              <a:tr h="484636">
                <a:tc>
                  <a:txBody>
                    <a:bodyPr/>
                    <a:lstStyle/>
                    <a:p>
                      <a:pPr algn="ctr"/>
                      <a:r>
                        <a:rPr lang="en-US" sz="1200"/>
                        <a:t>E</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pPr algn="ctr"/>
                      <a:r>
                        <a:rPr lang="en-US" sz="1200"/>
                        <a:t>85</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noFill/>
                  </a:tcPr>
                </a:tc>
                <a:extLst>
                  <a:ext uri="{0D108BD9-81ED-4DB2-BD59-A6C34878D82A}">
                    <a16:rowId xmlns:a16="http://schemas.microsoft.com/office/drawing/2014/main" val="621709105"/>
                  </a:ext>
                </a:extLst>
              </a:tr>
            </a:tbl>
          </a:graphicData>
        </a:graphic>
      </p:graphicFrame>
      <p:graphicFrame>
        <p:nvGraphicFramePr>
          <p:cNvPr id="29" name="Table 28">
            <a:extLst>
              <a:ext uri="{FF2B5EF4-FFF2-40B4-BE49-F238E27FC236}">
                <a16:creationId xmlns:a16="http://schemas.microsoft.com/office/drawing/2014/main" id="{45676265-834E-D05B-56E8-0281CD9DBE39}"/>
              </a:ext>
            </a:extLst>
          </p:cNvPr>
          <p:cNvGraphicFramePr>
            <a:graphicFrameLocks noGrp="1"/>
          </p:cNvGraphicFramePr>
          <p:nvPr>
            <p:extLst>
              <p:ext uri="{D42A27DB-BD31-4B8C-83A1-F6EECF244321}">
                <p14:modId xmlns:p14="http://schemas.microsoft.com/office/powerpoint/2010/main" val="1458685246"/>
              </p:ext>
            </p:extLst>
          </p:nvPr>
        </p:nvGraphicFramePr>
        <p:xfrm>
          <a:off x="4353998" y="3112345"/>
          <a:ext cx="3358017" cy="2907816"/>
        </p:xfrm>
        <a:graphic>
          <a:graphicData uri="http://schemas.openxmlformats.org/drawingml/2006/table">
            <a:tbl>
              <a:tblPr firstRow="1" bandRow="1">
                <a:tableStyleId>{5C22544A-7EE6-4342-B048-85BDC9FD1C3A}</a:tableStyleId>
              </a:tblPr>
              <a:tblGrid>
                <a:gridCol w="1119339">
                  <a:extLst>
                    <a:ext uri="{9D8B030D-6E8A-4147-A177-3AD203B41FA5}">
                      <a16:colId xmlns:a16="http://schemas.microsoft.com/office/drawing/2014/main" val="1296621699"/>
                    </a:ext>
                  </a:extLst>
                </a:gridCol>
                <a:gridCol w="1119339">
                  <a:extLst>
                    <a:ext uri="{9D8B030D-6E8A-4147-A177-3AD203B41FA5}">
                      <a16:colId xmlns:a16="http://schemas.microsoft.com/office/drawing/2014/main" val="3683216651"/>
                    </a:ext>
                  </a:extLst>
                </a:gridCol>
                <a:gridCol w="1119339">
                  <a:extLst>
                    <a:ext uri="{9D8B030D-6E8A-4147-A177-3AD203B41FA5}">
                      <a16:colId xmlns:a16="http://schemas.microsoft.com/office/drawing/2014/main" val="3853661544"/>
                    </a:ext>
                  </a:extLst>
                </a:gridCol>
              </a:tblGrid>
              <a:tr h="484636">
                <a:tc>
                  <a:txBody>
                    <a:bodyPr/>
                    <a:lstStyle/>
                    <a:p>
                      <a:pPr algn="ctr"/>
                      <a:r>
                        <a:rPr lang="en-US" sz="1200" b="0">
                          <a:solidFill>
                            <a:schemeClr val="tx2"/>
                          </a:solidFill>
                        </a:rPr>
                        <a:t>Bid</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Tech type</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Score</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8383735"/>
                  </a:ext>
                </a:extLst>
              </a:tr>
              <a:tr h="484636">
                <a:tc>
                  <a:txBody>
                    <a:bodyPr/>
                    <a:lstStyle/>
                    <a:p>
                      <a:pPr algn="ctr"/>
                      <a:r>
                        <a:rPr lang="en-US" sz="1200"/>
                        <a:t>A</a:t>
                      </a:r>
                    </a:p>
                  </a:txBody>
                  <a:tcPr anchor="ctr">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r>
                        <a:rPr lang="en-US" sz="1200"/>
                        <a:t>Non-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pPr algn="ctr"/>
                      <a:r>
                        <a:rPr lang="en-US" sz="1200"/>
                        <a:t>80</a:t>
                      </a:r>
                    </a:p>
                  </a:txBody>
                  <a:tcPr anchor="ctr">
                    <a:lnL w="12700" cap="flat" cmpd="sng" algn="ctr">
                      <a:noFill/>
                      <a:prstDash val="sysDot"/>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extLst>
                  <a:ext uri="{0D108BD9-81ED-4DB2-BD59-A6C34878D82A}">
                    <a16:rowId xmlns:a16="http://schemas.microsoft.com/office/drawing/2014/main" val="2332445476"/>
                  </a:ext>
                </a:extLst>
              </a:tr>
              <a:tr h="484636">
                <a:tc>
                  <a:txBody>
                    <a:bodyPr/>
                    <a:lstStyle/>
                    <a:p>
                      <a:pPr algn="ctr"/>
                      <a:r>
                        <a:rPr lang="en-US" sz="1200"/>
                        <a:t>B</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en-US" sz="1200"/>
                        <a:t>Non-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7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35118035"/>
                  </a:ext>
                </a:extLst>
              </a:tr>
              <a:tr h="484636">
                <a:tc>
                  <a:txBody>
                    <a:bodyPr/>
                    <a:lstStyle/>
                    <a:p>
                      <a:pPr algn="ctr"/>
                      <a:r>
                        <a:rPr lang="en-US" sz="1200"/>
                        <a:t>C</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en-US" sz="1200"/>
                        <a:t>Non-Priority</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6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856109200"/>
                  </a:ext>
                </a:extLst>
              </a:tr>
              <a:tr h="484636">
                <a:tc>
                  <a:txBody>
                    <a:bodyPr/>
                    <a:lstStyle/>
                    <a:p>
                      <a:pPr algn="ctr"/>
                      <a:r>
                        <a:rPr lang="en-US" sz="1200"/>
                        <a:t>D</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85</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44797697"/>
                  </a:ext>
                </a:extLst>
              </a:tr>
              <a:tr h="484636">
                <a:tc>
                  <a:txBody>
                    <a:bodyPr/>
                    <a:lstStyle/>
                    <a:p>
                      <a:pPr algn="ctr"/>
                      <a:r>
                        <a:rPr lang="en-US" sz="1200"/>
                        <a:t>E</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pPr algn="ctr"/>
                      <a:r>
                        <a:rPr lang="en-US" sz="1200"/>
                        <a:t>8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noFill/>
                  </a:tcPr>
                </a:tc>
                <a:extLst>
                  <a:ext uri="{0D108BD9-81ED-4DB2-BD59-A6C34878D82A}">
                    <a16:rowId xmlns:a16="http://schemas.microsoft.com/office/drawing/2014/main" val="621709105"/>
                  </a:ext>
                </a:extLst>
              </a:tr>
            </a:tbl>
          </a:graphicData>
        </a:graphic>
      </p:graphicFrame>
      <p:graphicFrame>
        <p:nvGraphicFramePr>
          <p:cNvPr id="30" name="Table 29">
            <a:extLst>
              <a:ext uri="{FF2B5EF4-FFF2-40B4-BE49-F238E27FC236}">
                <a16:creationId xmlns:a16="http://schemas.microsoft.com/office/drawing/2014/main" id="{39A4B5B9-BEF3-E006-7C2F-1376162AFE46}"/>
              </a:ext>
            </a:extLst>
          </p:cNvPr>
          <p:cNvGraphicFramePr>
            <a:graphicFrameLocks noGrp="1"/>
          </p:cNvGraphicFramePr>
          <p:nvPr>
            <p:extLst>
              <p:ext uri="{D42A27DB-BD31-4B8C-83A1-F6EECF244321}">
                <p14:modId xmlns:p14="http://schemas.microsoft.com/office/powerpoint/2010/main" val="3655276604"/>
              </p:ext>
            </p:extLst>
          </p:nvPr>
        </p:nvGraphicFramePr>
        <p:xfrm>
          <a:off x="7928897" y="3112345"/>
          <a:ext cx="3358017" cy="2907816"/>
        </p:xfrm>
        <a:graphic>
          <a:graphicData uri="http://schemas.openxmlformats.org/drawingml/2006/table">
            <a:tbl>
              <a:tblPr firstRow="1" bandRow="1">
                <a:tableStyleId>{5C22544A-7EE6-4342-B048-85BDC9FD1C3A}</a:tableStyleId>
              </a:tblPr>
              <a:tblGrid>
                <a:gridCol w="1119339">
                  <a:extLst>
                    <a:ext uri="{9D8B030D-6E8A-4147-A177-3AD203B41FA5}">
                      <a16:colId xmlns:a16="http://schemas.microsoft.com/office/drawing/2014/main" val="1296621699"/>
                    </a:ext>
                  </a:extLst>
                </a:gridCol>
                <a:gridCol w="1119339">
                  <a:extLst>
                    <a:ext uri="{9D8B030D-6E8A-4147-A177-3AD203B41FA5}">
                      <a16:colId xmlns:a16="http://schemas.microsoft.com/office/drawing/2014/main" val="3683216651"/>
                    </a:ext>
                  </a:extLst>
                </a:gridCol>
                <a:gridCol w="1119339">
                  <a:extLst>
                    <a:ext uri="{9D8B030D-6E8A-4147-A177-3AD203B41FA5}">
                      <a16:colId xmlns:a16="http://schemas.microsoft.com/office/drawing/2014/main" val="3853661544"/>
                    </a:ext>
                  </a:extLst>
                </a:gridCol>
              </a:tblGrid>
              <a:tr h="484636">
                <a:tc>
                  <a:txBody>
                    <a:bodyPr/>
                    <a:lstStyle/>
                    <a:p>
                      <a:pPr algn="ctr"/>
                      <a:r>
                        <a:rPr lang="en-US" sz="1200" b="0">
                          <a:solidFill>
                            <a:schemeClr val="tx2"/>
                          </a:solidFill>
                        </a:rPr>
                        <a:t>Bid</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Tech type</a:t>
                      </a:r>
                    </a:p>
                  </a:txBody>
                  <a:tcPr anchor="ctr">
                    <a:lnB w="12700" cap="flat" cmpd="sng" algn="ctr">
                      <a:solidFill>
                        <a:schemeClr val="tx1"/>
                      </a:solidFill>
                      <a:prstDash val="solid"/>
                      <a:round/>
                      <a:headEnd type="none" w="med" len="med"/>
                      <a:tailEnd type="none" w="med" len="med"/>
                    </a:lnB>
                    <a:noFill/>
                  </a:tcPr>
                </a:tc>
                <a:tc>
                  <a:txBody>
                    <a:bodyPr/>
                    <a:lstStyle/>
                    <a:p>
                      <a:pPr algn="ctr"/>
                      <a:r>
                        <a:rPr lang="en-US" sz="1200" b="0">
                          <a:solidFill>
                            <a:schemeClr val="tx2"/>
                          </a:solidFill>
                        </a:rPr>
                        <a:t>Score</a:t>
                      </a:r>
                    </a:p>
                  </a:txBody>
                  <a:tcPr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88383735"/>
                  </a:ext>
                </a:extLst>
              </a:tr>
              <a:tr h="484636">
                <a:tc>
                  <a:txBody>
                    <a:bodyPr/>
                    <a:lstStyle/>
                    <a:p>
                      <a:pPr algn="ctr"/>
                      <a:r>
                        <a:rPr lang="en-US" sz="1200"/>
                        <a:t>A</a:t>
                      </a:r>
                    </a:p>
                  </a:txBody>
                  <a:tcPr anchor="ctr">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tc>
                  <a:txBody>
                    <a:bodyPr/>
                    <a:lstStyle/>
                    <a:p>
                      <a:pPr algn="ctr"/>
                      <a:r>
                        <a:rPr lang="en-US" sz="1200"/>
                        <a:t>80</a:t>
                      </a:r>
                    </a:p>
                  </a:txBody>
                  <a:tcPr anchor="ctr">
                    <a:lnL w="12700" cap="flat" cmpd="sng" algn="ctr">
                      <a:noFill/>
                      <a:prstDash val="sysDot"/>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solidFill>
                      <a:srgbClr val="C9E7CA"/>
                    </a:solidFill>
                  </a:tcPr>
                </a:tc>
                <a:extLst>
                  <a:ext uri="{0D108BD9-81ED-4DB2-BD59-A6C34878D82A}">
                    <a16:rowId xmlns:a16="http://schemas.microsoft.com/office/drawing/2014/main" val="2332445476"/>
                  </a:ext>
                </a:extLst>
              </a:tr>
              <a:tr h="484636">
                <a:tc>
                  <a:txBody>
                    <a:bodyPr/>
                    <a:lstStyle/>
                    <a:p>
                      <a:pPr algn="ctr"/>
                      <a:r>
                        <a:rPr lang="en-US" sz="1200"/>
                        <a:t>B</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79</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35118035"/>
                  </a:ext>
                </a:extLst>
              </a:tr>
              <a:tr h="484636">
                <a:tc>
                  <a:txBody>
                    <a:bodyPr/>
                    <a:lstStyle/>
                    <a:p>
                      <a:pPr algn="ctr"/>
                      <a:r>
                        <a:rPr lang="en-US" sz="1200"/>
                        <a:t>C</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75</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856109200"/>
                  </a:ext>
                </a:extLst>
              </a:tr>
              <a:tr h="484636">
                <a:tc>
                  <a:txBody>
                    <a:bodyPr/>
                    <a:lstStyle/>
                    <a:p>
                      <a:pPr algn="ctr"/>
                      <a:r>
                        <a:rPr lang="en-US" sz="1200"/>
                        <a:t>D</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algn="ctr"/>
                      <a:r>
                        <a:rPr lang="en-US" sz="1200"/>
                        <a:t>60</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44797697"/>
                  </a:ext>
                </a:extLst>
              </a:tr>
              <a:tr h="484636">
                <a:tc>
                  <a:txBody>
                    <a:bodyPr/>
                    <a:lstStyle/>
                    <a:p>
                      <a:pPr algn="ctr"/>
                      <a:r>
                        <a:rPr lang="en-US" sz="1200"/>
                        <a:t>E</a:t>
                      </a:r>
                    </a:p>
                  </a:txBody>
                  <a:tcPr anchor="ctr">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r>
                        <a:rPr lang="en-US" sz="1200"/>
                        <a:t>Alternative</a:t>
                      </a:r>
                    </a:p>
                  </a:txBody>
                  <a:tcPr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noFill/>
                  </a:tcPr>
                </a:tc>
                <a:tc>
                  <a:txBody>
                    <a:bodyPr/>
                    <a:lstStyle/>
                    <a:p>
                      <a:pPr algn="ctr"/>
                      <a:r>
                        <a:rPr lang="en-US" sz="1200"/>
                        <a:t>55</a:t>
                      </a:r>
                    </a:p>
                  </a:txBody>
                  <a:tcPr anchor="ctr">
                    <a:lnL w="12700" cap="flat" cmpd="sng" algn="ctr">
                      <a:no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noFill/>
                  </a:tcPr>
                </a:tc>
                <a:extLst>
                  <a:ext uri="{0D108BD9-81ED-4DB2-BD59-A6C34878D82A}">
                    <a16:rowId xmlns:a16="http://schemas.microsoft.com/office/drawing/2014/main" val="621709105"/>
                  </a:ext>
                </a:extLst>
              </a:tr>
            </a:tbl>
          </a:graphicData>
        </a:graphic>
      </p:graphicFrame>
      <p:sp>
        <p:nvSpPr>
          <p:cNvPr id="37" name="Rectangle 36">
            <a:extLst>
              <a:ext uri="{FF2B5EF4-FFF2-40B4-BE49-F238E27FC236}">
                <a16:creationId xmlns:a16="http://schemas.microsoft.com/office/drawing/2014/main" id="{72A46CF8-6D4A-52D3-6915-47E6907BB91F}"/>
              </a:ext>
            </a:extLst>
          </p:cNvPr>
          <p:cNvSpPr/>
          <p:nvPr/>
        </p:nvSpPr>
        <p:spPr>
          <a:xfrm>
            <a:off x="630000" y="6361636"/>
            <a:ext cx="1940454" cy="205143"/>
          </a:xfrm>
          <a:prstGeom prst="rect">
            <a:avLst/>
          </a:prstGeom>
          <a:solidFill>
            <a:srgbClr val="C9E7CA"/>
          </a:solidFill>
          <a:ln w="9525" cap="rnd" cmpd="sng" algn="ctr">
            <a:solidFill>
              <a:srgbClr val="92D05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Preliminarily Selected bid</a:t>
            </a:r>
          </a:p>
        </p:txBody>
      </p:sp>
    </p:spTree>
    <p:custDataLst>
      <p:custData r:id="rId1"/>
    </p:custDataLst>
    <p:extLst>
      <p:ext uri="{BB962C8B-B14F-4D97-AF65-F5344CB8AC3E}">
        <p14:creationId xmlns:p14="http://schemas.microsoft.com/office/powerpoint/2010/main" val="1929394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A4E17-8F4D-2A70-ECF2-47D7E761A056}"/>
            </a:ext>
          </a:extLst>
        </p:cNvPr>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0CE0D51B-0CA5-E903-4555-ADDD1DDCCC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1" imgH="472" progId="TCLayout.ActiveDocument.1">
                  <p:embed/>
                </p:oleObj>
              </mc:Choice>
              <mc:Fallback>
                <p:oleObj name="think-cell Slide" r:id="rId11" imgW="471" imgH="472" progId="TCLayout.ActiveDocument.1">
                  <p:embed/>
                  <p:pic>
                    <p:nvPicPr>
                      <p:cNvPr id="38" name="Object 37" hidden="1">
                        <a:extLst>
                          <a:ext uri="{FF2B5EF4-FFF2-40B4-BE49-F238E27FC236}">
                            <a16:creationId xmlns:a16="http://schemas.microsoft.com/office/drawing/2014/main" id="{0CE0D51B-0CA5-E903-4555-ADDD1DDCCC7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3017DD81-AD70-0B68-D08A-C3FE42213DCC}"/>
              </a:ext>
            </a:extLst>
          </p:cNvPr>
          <p:cNvGraphicFramePr>
            <a:graphicFrameLocks noGrp="1"/>
          </p:cNvGraphicFramePr>
          <p:nvPr>
            <p:extLst>
              <p:ext uri="{D42A27DB-BD31-4B8C-83A1-F6EECF244321}">
                <p14:modId xmlns:p14="http://schemas.microsoft.com/office/powerpoint/2010/main" val="624719995"/>
              </p:ext>
            </p:extLst>
          </p:nvPr>
        </p:nvGraphicFramePr>
        <p:xfrm>
          <a:off x="4570040" y="1973150"/>
          <a:ext cx="6991960" cy="2911700"/>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are the application submission rules for Tranche-3?</a:t>
                      </a: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25110860"/>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panose="020B0604020202020204" pitchFamily="34" charset="0"/>
                          <a:cs typeface="Arial" panose="020B0604020202020204" pitchFamily="34" charset="0"/>
                        </a:rPr>
                        <a:t>What </a:t>
                      </a:r>
                      <a:r>
                        <a:rPr lang="en-US" err="1">
                          <a:solidFill>
                            <a:srgbClr val="000000"/>
                          </a:solidFill>
                          <a:latin typeface="Arial" panose="020B0604020202020204" pitchFamily="34" charset="0"/>
                          <a:cs typeface="Arial" panose="020B0604020202020204" pitchFamily="34" charset="0"/>
                        </a:rPr>
                        <a:t>CBGs</a:t>
                      </a:r>
                      <a:r>
                        <a:rPr lang="en-US">
                          <a:solidFill>
                            <a:srgbClr val="000000"/>
                          </a:solidFill>
                          <a:latin typeface="Arial" panose="020B0604020202020204" pitchFamily="34" charset="0"/>
                          <a:cs typeface="Arial" panose="020B0604020202020204" pitchFamily="34" charset="0"/>
                        </a:rPr>
                        <a:t> are available for bidding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37428618"/>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How will applications be preliminarily selected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510883694"/>
                  </a:ext>
                </a:extLst>
              </a:tr>
              <a:tr h="727925">
                <a:tc>
                  <a:txBody>
                    <a:bodyPr/>
                    <a:lstStyle/>
                    <a:p>
                      <a:pPr marL="0" indent="0" algn="l" rtl="0" fontAlgn="auto" hangingPunct="1">
                        <a:lnSpc>
                          <a:spcPct val="100000"/>
                        </a:lnSpc>
                        <a:spcBef>
                          <a:spcPts val="0"/>
                        </a:spcBef>
                        <a:spcAft>
                          <a:spcPts val="0"/>
                        </a:spcAft>
                      </a:pPr>
                      <a:endParaRPr lang="en-US" sz="1400" b="0" i="0" u="none" dirty="0">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Resources and reminders</a:t>
                      </a: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827666917"/>
                  </a:ext>
                </a:extLst>
              </a:tr>
            </a:tbl>
          </a:graphicData>
        </a:graphic>
      </p:graphicFrame>
      <p:grpSp>
        <p:nvGrpSpPr>
          <p:cNvPr id="8" name="Group 7">
            <a:extLst>
              <a:ext uri="{FF2B5EF4-FFF2-40B4-BE49-F238E27FC236}">
                <a16:creationId xmlns:a16="http://schemas.microsoft.com/office/drawing/2014/main" id="{B625B0F1-06A5-218E-BBFD-5127598A6DD0}"/>
              </a:ext>
            </a:extLst>
          </p:cNvPr>
          <p:cNvGrpSpPr/>
          <p:nvPr/>
        </p:nvGrpSpPr>
        <p:grpSpPr>
          <a:xfrm>
            <a:off x="0" y="0"/>
            <a:ext cx="4116907" cy="6858000"/>
            <a:chOff x="0" y="0"/>
            <a:chExt cx="4116907" cy="6858000"/>
          </a:xfrm>
        </p:grpSpPr>
        <p:pic>
          <p:nvPicPr>
            <p:cNvPr id="5" name="Picture 4">
              <a:extLst>
                <a:ext uri="{FF2B5EF4-FFF2-40B4-BE49-F238E27FC236}">
                  <a16:creationId xmlns:a16="http://schemas.microsoft.com/office/drawing/2014/main" id="{85975CCC-0018-B649-1B2B-4249E7EA5003}"/>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0" y="0"/>
              <a:ext cx="4116907" cy="6858000"/>
            </a:xfrm>
            <a:prstGeom prst="rect">
              <a:avLst/>
            </a:prstGeom>
          </p:spPr>
        </p:pic>
        <p:sp>
          <p:nvSpPr>
            <p:cNvPr id="3" name="Rectangle 2">
              <a:extLst>
                <a:ext uri="{FF2B5EF4-FFF2-40B4-BE49-F238E27FC236}">
                  <a16:creationId xmlns:a16="http://schemas.microsoft.com/office/drawing/2014/main" id="{B3FC4B03-6107-6977-B0C2-0006EAF452A5}"/>
                </a:ext>
              </a:extLst>
            </p:cNvPr>
            <p:cNvSpPr/>
            <p:nvPr/>
          </p:nvSpPr>
          <p:spPr>
            <a:xfrm>
              <a:off x="0" y="0"/>
              <a:ext cx="4116907" cy="6858000"/>
            </a:xfrm>
            <a:prstGeom prst="rect">
              <a:avLst/>
            </a:prstGeom>
            <a:gradFill>
              <a:gsLst>
                <a:gs pos="0">
                  <a:schemeClr val="accent4">
                    <a:alpha val="70000"/>
                  </a:schemeClr>
                </a:gs>
                <a:gs pos="100000">
                  <a:schemeClr val="tx2">
                    <a:alpha val="9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39" name="Title 38">
            <a:extLst>
              <a:ext uri="{FF2B5EF4-FFF2-40B4-BE49-F238E27FC236}">
                <a16:creationId xmlns:a16="http://schemas.microsoft.com/office/drawing/2014/main" id="{2F5AE74C-D747-FB71-18A3-0AF1F1EDBD28}"/>
              </a:ext>
            </a:extLst>
          </p:cNvPr>
          <p:cNvSpPr>
            <a:spLocks noGrp="1"/>
          </p:cNvSpPr>
          <p:nvPr>
            <p:ph type="title"/>
          </p:nvPr>
        </p:nvSpPr>
        <p:spPr/>
        <p:txBody>
          <a:bodyPr vert="horz"/>
          <a:lstStyle/>
          <a:p>
            <a:r>
              <a:rPr lang="en-US" sz="4400"/>
              <a:t>Agenda</a:t>
            </a:r>
          </a:p>
        </p:txBody>
      </p:sp>
      <p:cxnSp>
        <p:nvCxnSpPr>
          <p:cNvPr id="7" name="Straight Connector 6">
            <a:extLst>
              <a:ext uri="{FF2B5EF4-FFF2-40B4-BE49-F238E27FC236}">
                <a16:creationId xmlns:a16="http://schemas.microsoft.com/office/drawing/2014/main" id="{685A929B-8CEC-E034-6537-6E45992579D7}"/>
              </a:ext>
            </a:extLst>
          </p:cNvPr>
          <p:cNvCxnSpPr/>
          <p:nvPr/>
        </p:nvCxnSpPr>
        <p:spPr>
          <a:xfrm>
            <a:off x="4880583" y="0"/>
            <a:ext cx="0" cy="685800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B86AC24-954E-9EAE-E346-8A5AF192271D}"/>
              </a:ext>
            </a:extLst>
          </p:cNvPr>
          <p:cNvSpPr/>
          <p:nvPr/>
        </p:nvSpPr>
        <p:spPr>
          <a:xfrm>
            <a:off x="1" y="0"/>
            <a:ext cx="4114800" cy="6858000"/>
          </a:xfrm>
          <a:prstGeom prst="rect">
            <a:avLst/>
          </a:prstGeom>
          <a:solidFill>
            <a:srgbClr val="1A5BA7"/>
          </a:solidFill>
          <a:ln>
            <a:solidFill>
              <a:srgbClr val="2459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atin typeface="Arial "/>
              </a:rPr>
              <a:t>Agenda</a:t>
            </a:r>
            <a:endParaRPr lang="en-US" sz="4000" dirty="0">
              <a:latin typeface="Arial "/>
              <a:cs typeface="Arial" panose="020B0604020202020204" pitchFamily="34" charset="0"/>
            </a:endParaRPr>
          </a:p>
        </p:txBody>
      </p:sp>
      <p:graphicFrame>
        <p:nvGraphicFramePr>
          <p:cNvPr id="6" name="think-cell data - do not delete" hidden="1">
            <a:extLst>
              <a:ext uri="{FF2B5EF4-FFF2-40B4-BE49-F238E27FC236}">
                <a16:creationId xmlns:a16="http://schemas.microsoft.com/office/drawing/2014/main" id="{66A10B32-573C-FE8D-AECE-914E720081D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6" name="think-cell data - do not delete" hidden="1">
                        <a:extLst>
                          <a:ext uri="{FF2B5EF4-FFF2-40B4-BE49-F238E27FC236}">
                            <a16:creationId xmlns:a16="http://schemas.microsoft.com/office/drawing/2014/main" id="{66A10B32-573C-FE8D-AECE-914E720081D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6" name="think-cell data - do not delete" hidden="1">
            <a:extLst>
              <a:ext uri="{FF2B5EF4-FFF2-40B4-BE49-F238E27FC236}">
                <a16:creationId xmlns:a16="http://schemas.microsoft.com/office/drawing/2014/main" id="{40812B7C-03C1-0D0D-942D-6F3CD3534081}"/>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6" name="think-cell data - do not delete" hidden="1">
                        <a:extLst>
                          <a:ext uri="{FF2B5EF4-FFF2-40B4-BE49-F238E27FC236}">
                            <a16:creationId xmlns:a16="http://schemas.microsoft.com/office/drawing/2014/main" id="{40812B7C-03C1-0D0D-942D-6F3CD3534081}"/>
                          </a:ext>
                        </a:extLst>
                      </p:cNvPr>
                      <p:cNvPicPr/>
                      <p:nvPr/>
                    </p:nvPicPr>
                    <p:blipFill>
                      <a:blip r:embed="rId15"/>
                      <a:stretch>
                        <a:fillRect/>
                      </a:stretch>
                    </p:blipFill>
                    <p:spPr>
                      <a:xfrm>
                        <a:off x="153988" y="153988"/>
                        <a:ext cx="1588" cy="1588"/>
                      </a:xfrm>
                      <a:prstGeom prst="rect">
                        <a:avLst/>
                      </a:prstGeom>
                    </p:spPr>
                  </p:pic>
                </p:oleObj>
              </mc:Fallback>
            </mc:AlternateContent>
          </a:graphicData>
        </a:graphic>
      </p:graphicFrame>
      <p:graphicFrame>
        <p:nvGraphicFramePr>
          <p:cNvPr id="18" name="think-cell data - do not delete" hidden="1">
            <a:extLst>
              <a:ext uri="{FF2B5EF4-FFF2-40B4-BE49-F238E27FC236}">
                <a16:creationId xmlns:a16="http://schemas.microsoft.com/office/drawing/2014/main" id="{4403985A-EC2D-04CB-E5A4-72598634D8D0}"/>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8" name="think-cell data - do not delete" hidden="1">
                        <a:extLst>
                          <a:ext uri="{FF2B5EF4-FFF2-40B4-BE49-F238E27FC236}">
                            <a16:creationId xmlns:a16="http://schemas.microsoft.com/office/drawing/2014/main" id="{4403985A-EC2D-04CB-E5A4-72598634D8D0}"/>
                          </a:ext>
                        </a:extLst>
                      </p:cNvPr>
                      <p:cNvPicPr/>
                      <p:nvPr/>
                    </p:nvPicPr>
                    <p:blipFill>
                      <a:blip r:embed="rId15"/>
                      <a:stretch>
                        <a:fillRect/>
                      </a:stretch>
                    </p:blipFill>
                    <p:spPr>
                      <a:xfrm>
                        <a:off x="306388" y="306388"/>
                        <a:ext cx="1588" cy="1588"/>
                      </a:xfrm>
                      <a:prstGeom prst="rect">
                        <a:avLst/>
                      </a:prstGeom>
                    </p:spPr>
                  </p:pic>
                </p:oleObj>
              </mc:Fallback>
            </mc:AlternateContent>
          </a:graphicData>
        </a:graphic>
      </p:graphicFrame>
      <p:graphicFrame>
        <p:nvGraphicFramePr>
          <p:cNvPr id="23" name="think-cell data - do not delete" hidden="1">
            <a:extLst>
              <a:ext uri="{FF2B5EF4-FFF2-40B4-BE49-F238E27FC236}">
                <a16:creationId xmlns:a16="http://schemas.microsoft.com/office/drawing/2014/main" id="{32E4A29F-5928-F13B-712B-1C349F58007C}"/>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3" name="think-cell data - do not delete" hidden="1">
                        <a:extLst>
                          <a:ext uri="{FF2B5EF4-FFF2-40B4-BE49-F238E27FC236}">
                            <a16:creationId xmlns:a16="http://schemas.microsoft.com/office/drawing/2014/main" id="{32E4A29F-5928-F13B-712B-1C349F58007C}"/>
                          </a:ext>
                        </a:extLst>
                      </p:cNvPr>
                      <p:cNvPicPr/>
                      <p:nvPr/>
                    </p:nvPicPr>
                    <p:blipFill>
                      <a:blip r:embed="rId15"/>
                      <a:stretch>
                        <a:fillRect/>
                      </a:stretch>
                    </p:blipFill>
                    <p:spPr>
                      <a:xfrm>
                        <a:off x="458788" y="458788"/>
                        <a:ext cx="1588" cy="1588"/>
                      </a:xfrm>
                      <a:prstGeom prst="rect">
                        <a:avLst/>
                      </a:prstGeom>
                    </p:spPr>
                  </p:pic>
                </p:oleObj>
              </mc:Fallback>
            </mc:AlternateContent>
          </a:graphicData>
        </a:graphic>
      </p:graphicFrame>
      <p:graphicFrame>
        <p:nvGraphicFramePr>
          <p:cNvPr id="25" name="think-cell data - do not delete" hidden="1">
            <a:extLst>
              <a:ext uri="{FF2B5EF4-FFF2-40B4-BE49-F238E27FC236}">
                <a16:creationId xmlns:a16="http://schemas.microsoft.com/office/drawing/2014/main" id="{880AC42C-4914-2061-E70C-73BB2B1EEA18}"/>
              </a:ext>
            </a:extLst>
          </p:cNvPr>
          <p:cNvGraphicFramePr>
            <a:graphicFrameLocks noChangeAspect="1"/>
          </p:cNvGraphicFramePr>
          <p:nvPr>
            <p:custDataLst>
              <p:tags r:id="rId6"/>
            </p:custDataLst>
          </p:nvPr>
        </p:nvGraphicFramePr>
        <p:xfrm>
          <a:off x="611188" y="6111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5" name="think-cell data - do not delete" hidden="1">
                        <a:extLst>
                          <a:ext uri="{FF2B5EF4-FFF2-40B4-BE49-F238E27FC236}">
                            <a16:creationId xmlns:a16="http://schemas.microsoft.com/office/drawing/2014/main" id="{880AC42C-4914-2061-E70C-73BB2B1EEA18}"/>
                          </a:ext>
                        </a:extLst>
                      </p:cNvPr>
                      <p:cNvPicPr/>
                      <p:nvPr/>
                    </p:nvPicPr>
                    <p:blipFill>
                      <a:blip r:embed="rId15"/>
                      <a:stretch>
                        <a:fillRect/>
                      </a:stretch>
                    </p:blipFill>
                    <p:spPr>
                      <a:xfrm>
                        <a:off x="611188" y="611188"/>
                        <a:ext cx="1588" cy="1588"/>
                      </a:xfrm>
                      <a:prstGeom prst="rect">
                        <a:avLst/>
                      </a:prstGeom>
                    </p:spPr>
                  </p:pic>
                </p:oleObj>
              </mc:Fallback>
            </mc:AlternateContent>
          </a:graphicData>
        </a:graphic>
      </p:graphicFrame>
      <p:sp>
        <p:nvSpPr>
          <p:cNvPr id="26" name="Oval 20">
            <a:extLst>
              <a:ext uri="{FF2B5EF4-FFF2-40B4-BE49-F238E27FC236}">
                <a16:creationId xmlns:a16="http://schemas.microsoft.com/office/drawing/2014/main" id="{658F4061-26D2-14F1-DA8C-698777F16557}"/>
              </a:ext>
            </a:extLst>
          </p:cNvPr>
          <p:cNvSpPr>
            <a:spLocks noChangeAspect="1" noChangeArrowheads="1"/>
          </p:cNvSpPr>
          <p:nvPr/>
        </p:nvSpPr>
        <p:spPr bwMode="auto">
          <a:xfrm>
            <a:off x="4673724" y="359531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3</a:t>
            </a:r>
          </a:p>
        </p:txBody>
      </p:sp>
      <p:graphicFrame>
        <p:nvGraphicFramePr>
          <p:cNvPr id="27" name="think-cell data - do not delete" hidden="1">
            <a:extLst>
              <a:ext uri="{FF2B5EF4-FFF2-40B4-BE49-F238E27FC236}">
                <a16:creationId xmlns:a16="http://schemas.microsoft.com/office/drawing/2014/main" id="{0F3A4505-97F9-CDAF-C2AA-D1B4AC4F4337}"/>
              </a:ext>
            </a:extLst>
          </p:cNvPr>
          <p:cNvGraphicFramePr>
            <a:graphicFrameLocks noChangeAspect="1"/>
          </p:cNvGraphicFramePr>
          <p:nvPr>
            <p:custDataLst>
              <p:tags r:id="rId7"/>
            </p:custDataLst>
          </p:nvPr>
        </p:nvGraphicFramePr>
        <p:xfrm>
          <a:off x="763588" y="763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7" name="think-cell data - do not delete" hidden="1">
                        <a:extLst>
                          <a:ext uri="{FF2B5EF4-FFF2-40B4-BE49-F238E27FC236}">
                            <a16:creationId xmlns:a16="http://schemas.microsoft.com/office/drawing/2014/main" id="{0F3A4505-97F9-CDAF-C2AA-D1B4AC4F4337}"/>
                          </a:ext>
                        </a:extLst>
                      </p:cNvPr>
                      <p:cNvPicPr/>
                      <p:nvPr/>
                    </p:nvPicPr>
                    <p:blipFill>
                      <a:blip r:embed="rId15"/>
                      <a:stretch>
                        <a:fillRect/>
                      </a:stretch>
                    </p:blipFill>
                    <p:spPr>
                      <a:xfrm>
                        <a:off x="763588" y="763588"/>
                        <a:ext cx="1588" cy="1588"/>
                      </a:xfrm>
                      <a:prstGeom prst="rect">
                        <a:avLst/>
                      </a:prstGeom>
                    </p:spPr>
                  </p:pic>
                </p:oleObj>
              </mc:Fallback>
            </mc:AlternateContent>
          </a:graphicData>
        </a:graphic>
      </p:graphicFrame>
      <p:sp>
        <p:nvSpPr>
          <p:cNvPr id="29" name="Oval 20">
            <a:extLst>
              <a:ext uri="{FF2B5EF4-FFF2-40B4-BE49-F238E27FC236}">
                <a16:creationId xmlns:a16="http://schemas.microsoft.com/office/drawing/2014/main" id="{26998C55-E9DA-5AE5-8579-3449FCD3339A}"/>
              </a:ext>
            </a:extLst>
          </p:cNvPr>
          <p:cNvSpPr>
            <a:spLocks noChangeAspect="1" noChangeArrowheads="1"/>
          </p:cNvSpPr>
          <p:nvPr/>
        </p:nvSpPr>
        <p:spPr bwMode="auto">
          <a:xfrm>
            <a:off x="4673724" y="286739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2</a:t>
            </a:r>
          </a:p>
        </p:txBody>
      </p:sp>
      <p:graphicFrame>
        <p:nvGraphicFramePr>
          <p:cNvPr id="30" name="think-cell data - do not delete" hidden="1">
            <a:extLst>
              <a:ext uri="{FF2B5EF4-FFF2-40B4-BE49-F238E27FC236}">
                <a16:creationId xmlns:a16="http://schemas.microsoft.com/office/drawing/2014/main" id="{7D37BB4B-3833-1A1B-6A3C-8C5C36A053BF}"/>
              </a:ext>
            </a:extLst>
          </p:cNvPr>
          <p:cNvGraphicFramePr>
            <a:graphicFrameLocks noChangeAspect="1"/>
          </p:cNvGraphicFramePr>
          <p:nvPr>
            <p:custDataLst>
              <p:tags r:id="rId8"/>
            </p:custDataLst>
          </p:nvPr>
        </p:nvGraphicFramePr>
        <p:xfrm>
          <a:off x="915988" y="915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30" name="think-cell data - do not delete" hidden="1">
                        <a:extLst>
                          <a:ext uri="{FF2B5EF4-FFF2-40B4-BE49-F238E27FC236}">
                            <a16:creationId xmlns:a16="http://schemas.microsoft.com/office/drawing/2014/main" id="{7D37BB4B-3833-1A1B-6A3C-8C5C36A053BF}"/>
                          </a:ext>
                        </a:extLst>
                      </p:cNvPr>
                      <p:cNvPicPr/>
                      <p:nvPr/>
                    </p:nvPicPr>
                    <p:blipFill>
                      <a:blip r:embed="rId15"/>
                      <a:stretch>
                        <a:fillRect/>
                      </a:stretch>
                    </p:blipFill>
                    <p:spPr>
                      <a:xfrm>
                        <a:off x="915988" y="915988"/>
                        <a:ext cx="1588" cy="1588"/>
                      </a:xfrm>
                      <a:prstGeom prst="rect">
                        <a:avLst/>
                      </a:prstGeom>
                    </p:spPr>
                  </p:pic>
                </p:oleObj>
              </mc:Fallback>
            </mc:AlternateContent>
          </a:graphicData>
        </a:graphic>
      </p:graphicFrame>
      <p:sp>
        <p:nvSpPr>
          <p:cNvPr id="31" name="Oval 20">
            <a:extLst>
              <a:ext uri="{FF2B5EF4-FFF2-40B4-BE49-F238E27FC236}">
                <a16:creationId xmlns:a16="http://schemas.microsoft.com/office/drawing/2014/main" id="{8440910F-C406-61F2-8109-3DA9B3717CB3}"/>
              </a:ext>
            </a:extLst>
          </p:cNvPr>
          <p:cNvSpPr>
            <a:spLocks noChangeAspect="1" noChangeArrowheads="1"/>
          </p:cNvSpPr>
          <p:nvPr/>
        </p:nvSpPr>
        <p:spPr bwMode="auto">
          <a:xfrm>
            <a:off x="4673724" y="213946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1</a:t>
            </a:r>
          </a:p>
        </p:txBody>
      </p:sp>
      <p:sp>
        <p:nvSpPr>
          <p:cNvPr id="4" name="Oval 20">
            <a:extLst>
              <a:ext uri="{FF2B5EF4-FFF2-40B4-BE49-F238E27FC236}">
                <a16:creationId xmlns:a16="http://schemas.microsoft.com/office/drawing/2014/main" id="{F2C3AE0F-C8C4-6170-0EE6-93F409D2FA3A}"/>
              </a:ext>
            </a:extLst>
          </p:cNvPr>
          <p:cNvSpPr>
            <a:spLocks noChangeAspect="1" noChangeArrowheads="1"/>
          </p:cNvSpPr>
          <p:nvPr/>
        </p:nvSpPr>
        <p:spPr bwMode="auto">
          <a:xfrm>
            <a:off x="4673724" y="432324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4</a:t>
            </a:r>
          </a:p>
        </p:txBody>
      </p:sp>
    </p:spTree>
    <p:extLst>
      <p:ext uri="{BB962C8B-B14F-4D97-AF65-F5344CB8AC3E}">
        <p14:creationId xmlns:p14="http://schemas.microsoft.com/office/powerpoint/2010/main" val="36082842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8CB0BC-BCC1-9009-E321-90C9DF31A9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4" name="think-cell data - do not delete" hidden="1">
                        <a:extLst>
                          <a:ext uri="{FF2B5EF4-FFF2-40B4-BE49-F238E27FC236}">
                            <a16:creationId xmlns:a16="http://schemas.microsoft.com/office/drawing/2014/main" id="{D88CB0BC-BCC1-9009-E321-90C9DF31A9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62C24A9-AE26-5435-971A-DD8416A29B43}"/>
              </a:ext>
            </a:extLst>
          </p:cNvPr>
          <p:cNvSpPr>
            <a:spLocks noGrp="1"/>
          </p:cNvSpPr>
          <p:nvPr>
            <p:ph type="title"/>
          </p:nvPr>
        </p:nvSpPr>
        <p:spPr/>
        <p:txBody>
          <a:bodyPr vert="horz"/>
          <a:lstStyle/>
          <a:p>
            <a:r>
              <a:rPr lang="en-US" err="1"/>
              <a:t>ARConnect</a:t>
            </a:r>
            <a:r>
              <a:rPr lang="en-US"/>
              <a:t> will only provide technical support during the Tranche-2 application window</a:t>
            </a:r>
          </a:p>
        </p:txBody>
      </p:sp>
      <p:graphicFrame>
        <p:nvGraphicFramePr>
          <p:cNvPr id="36" name="Table 35">
            <a:extLst>
              <a:ext uri="{FF2B5EF4-FFF2-40B4-BE49-F238E27FC236}">
                <a16:creationId xmlns:a16="http://schemas.microsoft.com/office/drawing/2014/main" id="{F4696D8A-5DD5-37D7-7A99-28E33A3B312B}"/>
              </a:ext>
            </a:extLst>
          </p:cNvPr>
          <p:cNvGraphicFramePr>
            <a:graphicFrameLocks noGrp="1"/>
          </p:cNvGraphicFramePr>
          <p:nvPr/>
        </p:nvGraphicFramePr>
        <p:xfrm>
          <a:off x="4725680" y="3840999"/>
          <a:ext cx="6991960" cy="2377439"/>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491883">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lang="en-US" sz="1800" u="none" kern="1200">
                          <a:solidFill>
                            <a:schemeClr val="tx1"/>
                          </a:solidFill>
                          <a:effectLst/>
                          <a:latin typeface="+mn-lt"/>
                          <a:ea typeface="+mn-ea"/>
                          <a:cs typeface="+mn-cs"/>
                          <a:hlinkClick r:id="rId7"/>
                        </a:rPr>
                        <a:t>IPvII</a:t>
                      </a:r>
                      <a:endParaRPr lang="en-US" sz="1800" u="none" kern="1200">
                        <a:solidFill>
                          <a:schemeClr val="tx1"/>
                        </a:solidFill>
                        <a:effectLst/>
                        <a:latin typeface="+mn-lt"/>
                        <a:ea typeface="+mn-ea"/>
                        <a:cs typeface="+mn-cs"/>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110860"/>
                  </a:ext>
                </a:extLst>
              </a:tr>
              <a:tr h="491883">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vl="0"/>
                      <a:r>
                        <a:rPr lang="en-US" sz="1800" kern="1200">
                          <a:solidFill>
                            <a:schemeClr val="tx1"/>
                          </a:solidFill>
                          <a:effectLst/>
                          <a:latin typeface="+mn-lt"/>
                          <a:ea typeface="+mn-ea"/>
                          <a:cs typeface="+mn-cs"/>
                          <a:hlinkClick r:id="rId8"/>
                        </a:rPr>
                        <a:t>Applicant Primer</a:t>
                      </a:r>
                      <a:endParaRPr lang="en-US" sz="1800" kern="1200">
                        <a:solidFill>
                          <a:schemeClr val="tx1"/>
                        </a:solidFill>
                        <a:effectLst/>
                        <a:latin typeface="+mn-lt"/>
                        <a:ea typeface="+mn-ea"/>
                        <a:cs typeface="+mn-cs"/>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7428618"/>
                  </a:ext>
                </a:extLst>
              </a:tr>
              <a:tr h="491883">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lvl="0"/>
                      <a:r>
                        <a:rPr lang="en-US" sz="1800" kern="1200">
                          <a:solidFill>
                            <a:schemeClr val="tx1"/>
                          </a:solidFill>
                          <a:effectLst/>
                          <a:latin typeface="+mn-lt"/>
                          <a:ea typeface="+mn-ea"/>
                          <a:cs typeface="+mn-cs"/>
                          <a:hlinkClick r:id="rId9"/>
                        </a:rPr>
                        <a:t>Applicant Portal User Guide </a:t>
                      </a:r>
                      <a:endParaRPr lang="en-US" sz="1800" kern="1200">
                        <a:solidFill>
                          <a:schemeClr val="tx1"/>
                        </a:solidFill>
                        <a:effectLst/>
                        <a:latin typeface="+mn-lt"/>
                        <a:ea typeface="+mn-ea"/>
                        <a:cs typeface="+mn-cs"/>
                      </a:endParaRPr>
                    </a:p>
                  </a:txBody>
                  <a:tcPr marR="0" marT="27432" marB="27432" anchor="ctr">
                    <a:lnL>
                      <a:noFill/>
                    </a:lnL>
                    <a:lnR>
                      <a:noFill/>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504084"/>
                  </a:ext>
                </a:extLst>
              </a:tr>
              <a:tr h="901790">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L>
                      <a:noFill/>
                    </a:lnL>
                    <a:lnR>
                      <a:noFill/>
                    </a:lnR>
                    <a:lnT w="9525"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0" indent="0" algn="l" rtl="0" fontAlgn="auto" hangingPunct="1">
                        <a:lnSpc>
                          <a:spcPct val="100000"/>
                        </a:lnSpc>
                        <a:spcBef>
                          <a:spcPts val="0"/>
                        </a:spcBef>
                        <a:spcAft>
                          <a:spcPts val="0"/>
                        </a:spcAft>
                      </a:pPr>
                      <a:r>
                        <a:rPr lang="en-US" sz="1800" b="0" i="0" u="none">
                          <a:solidFill>
                            <a:schemeClr val="tx1"/>
                          </a:solidFill>
                          <a:latin typeface="Arial" panose="020B0604020202020204" pitchFamily="34" charset="0"/>
                          <a:cs typeface="Arial" panose="020B0604020202020204" pitchFamily="34" charset="0"/>
                          <a:hlinkClick r:id="rId10"/>
                        </a:rPr>
                        <a:t>TA Session materials and FAQ documents </a:t>
                      </a:r>
                      <a:endParaRPr lang="en-US" sz="1800" b="0" i="0" u="none">
                        <a:solidFill>
                          <a:schemeClr val="tx1"/>
                        </a:solidFill>
                        <a:latin typeface="Arial" panose="020B0604020202020204" pitchFamily="34" charset="0"/>
                        <a:cs typeface="Arial" panose="020B0604020202020204" pitchFamily="34" charset="0"/>
                      </a:endParaRPr>
                    </a:p>
                    <a:p>
                      <a:pPr marL="0" indent="0" algn="l" rtl="0" fontAlgn="auto" hangingPunct="1">
                        <a:lnSpc>
                          <a:spcPct val="100000"/>
                        </a:lnSpc>
                        <a:spcBef>
                          <a:spcPts val="0"/>
                        </a:spcBef>
                        <a:spcAft>
                          <a:spcPts val="0"/>
                        </a:spcAft>
                      </a:pPr>
                      <a:r>
                        <a:rPr lang="en-US" sz="1800" b="0" i="0" u="none">
                          <a:solidFill>
                            <a:schemeClr val="tx1"/>
                          </a:solidFill>
                          <a:latin typeface="Arial" panose="020B0604020202020204" pitchFamily="34" charset="0"/>
                          <a:cs typeface="Arial" panose="020B0604020202020204" pitchFamily="34" charset="0"/>
                        </a:rPr>
                        <a:t>(found under "Technical Assistance" dropdown)</a:t>
                      </a:r>
                    </a:p>
                  </a:txBody>
                  <a:tcPr marR="0" marT="27432" marB="27432" anchor="ctr">
                    <a:lnL>
                      <a:noFill/>
                    </a:lnL>
                    <a:lnR>
                      <a:noFill/>
                    </a:lnR>
                    <a:lnT w="9525"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1440333"/>
                  </a:ext>
                </a:extLst>
              </a:tr>
            </a:tbl>
          </a:graphicData>
        </a:graphic>
      </p:graphicFrame>
      <p:sp>
        <p:nvSpPr>
          <p:cNvPr id="45" name="TextBox 44">
            <a:extLst>
              <a:ext uri="{FF2B5EF4-FFF2-40B4-BE49-F238E27FC236}">
                <a16:creationId xmlns:a16="http://schemas.microsoft.com/office/drawing/2014/main" id="{D6EB787D-4EAE-5AD5-AF0B-7BD923DB395F}"/>
              </a:ext>
            </a:extLst>
          </p:cNvPr>
          <p:cNvSpPr txBox="1"/>
          <p:nvPr/>
        </p:nvSpPr>
        <p:spPr>
          <a:xfrm>
            <a:off x="4725680" y="2616440"/>
            <a:ext cx="6991960" cy="97129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rPr>
              <a:t>If you have questions regarding the application and/or the Arkansas BEAD process, we encourage you to reference the following resources housed on the </a:t>
            </a:r>
            <a:r>
              <a:rPr kumimoji="0" lang="en-US" sz="1800" b="1" i="0" u="none"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hlinkClick r:id="rId10"/>
              </a:rPr>
              <a:t>Arkansas BEAD Webpage</a:t>
            </a:r>
            <a:r>
              <a:rPr kumimoji="0" lang="en-US" sz="1800" b="1" i="0" u="none"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rPr>
              <a:t>:</a:t>
            </a:r>
          </a:p>
        </p:txBody>
      </p:sp>
      <p:grpSp>
        <p:nvGrpSpPr>
          <p:cNvPr id="54" name="Group 53">
            <a:extLst>
              <a:ext uri="{FF2B5EF4-FFF2-40B4-BE49-F238E27FC236}">
                <a16:creationId xmlns:a16="http://schemas.microsoft.com/office/drawing/2014/main" id="{AEE1CD20-E8C2-0731-7A28-AEDFB635B25C}"/>
              </a:ext>
            </a:extLst>
          </p:cNvPr>
          <p:cNvGrpSpPr>
            <a:grpSpLocks noChangeAspect="1"/>
          </p:cNvGrpSpPr>
          <p:nvPr/>
        </p:nvGrpSpPr>
        <p:grpSpPr>
          <a:xfrm>
            <a:off x="4516056" y="1446322"/>
            <a:ext cx="209624" cy="209624"/>
            <a:chOff x="982662" y="1847850"/>
            <a:chExt cx="269875" cy="269875"/>
          </a:xfrm>
        </p:grpSpPr>
        <p:sp>
          <p:nvSpPr>
            <p:cNvPr id="55" name="Oval 50">
              <a:extLst>
                <a:ext uri="{FF2B5EF4-FFF2-40B4-BE49-F238E27FC236}">
                  <a16:creationId xmlns:a16="http://schemas.microsoft.com/office/drawing/2014/main" id="{0A7A9B78-A12D-2497-3EBF-5767F0228912}"/>
                </a:ext>
              </a:extLst>
            </p:cNvPr>
            <p:cNvSpPr>
              <a:spLocks noChangeArrowheads="1"/>
            </p:cNvSpPr>
            <p:nvPr/>
          </p:nvSpPr>
          <p:spPr bwMode="auto">
            <a:xfrm>
              <a:off x="982662" y="1847850"/>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6" name="Freeform 51">
              <a:extLst>
                <a:ext uri="{FF2B5EF4-FFF2-40B4-BE49-F238E27FC236}">
                  <a16:creationId xmlns:a16="http://schemas.microsoft.com/office/drawing/2014/main" id="{DFF20BA4-0EAA-8373-F649-A7638446F2B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66" name="TextBox 65">
            <a:extLst>
              <a:ext uri="{FF2B5EF4-FFF2-40B4-BE49-F238E27FC236}">
                <a16:creationId xmlns:a16="http://schemas.microsoft.com/office/drawing/2014/main" id="{13943FAD-F97E-8F67-AD07-1EA13B69014E}"/>
              </a:ext>
            </a:extLst>
          </p:cNvPr>
          <p:cNvSpPr txBox="1"/>
          <p:nvPr/>
        </p:nvSpPr>
        <p:spPr>
          <a:xfrm>
            <a:off x="4725680" y="1391882"/>
            <a:ext cx="6991959" cy="6635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rPr>
              <a:t>If you are experiencing a technical issue with the portal, please reach out to </a:t>
            </a:r>
            <a:r>
              <a:rPr kumimoji="0" lang="en-US" sz="1800" b="1" i="0" u="sng"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argrants@mbakerintl.com</a:t>
            </a:r>
            <a:r>
              <a:rPr kumimoji="0" lang="en-US" sz="1800" b="1" i="0" u="none" strike="noStrike" kern="100" cap="none" spc="0" normalizeH="0" baseline="0" noProof="0">
                <a:ln>
                  <a:noFill/>
                </a:ln>
                <a:solidFill>
                  <a:srgbClr val="1A5BA7"/>
                </a:solidFill>
                <a:effectLst/>
                <a:uLnTx/>
                <a:uFillTx/>
                <a:latin typeface="Arial" panose="020B0604020202020204"/>
                <a:ea typeface="Aptos" panose="020B0004020202020204" pitchFamily="34" charset="0"/>
                <a:cs typeface="Arial" panose="020B0604020202020204" pitchFamily="34" charset="0"/>
              </a:rPr>
              <a:t> </a:t>
            </a:r>
          </a:p>
        </p:txBody>
      </p:sp>
      <p:grpSp>
        <p:nvGrpSpPr>
          <p:cNvPr id="67" name="Group 66">
            <a:extLst>
              <a:ext uri="{FF2B5EF4-FFF2-40B4-BE49-F238E27FC236}">
                <a16:creationId xmlns:a16="http://schemas.microsoft.com/office/drawing/2014/main" id="{082460B4-0FB0-5B56-6570-0AAE2F6AA58C}"/>
              </a:ext>
            </a:extLst>
          </p:cNvPr>
          <p:cNvGrpSpPr>
            <a:grpSpLocks noChangeAspect="1"/>
          </p:cNvGrpSpPr>
          <p:nvPr/>
        </p:nvGrpSpPr>
        <p:grpSpPr>
          <a:xfrm>
            <a:off x="4516056" y="2700668"/>
            <a:ext cx="209624" cy="209624"/>
            <a:chOff x="982662" y="1847850"/>
            <a:chExt cx="269875" cy="269875"/>
          </a:xfrm>
        </p:grpSpPr>
        <p:sp>
          <p:nvSpPr>
            <p:cNvPr id="68" name="Oval 50">
              <a:extLst>
                <a:ext uri="{FF2B5EF4-FFF2-40B4-BE49-F238E27FC236}">
                  <a16:creationId xmlns:a16="http://schemas.microsoft.com/office/drawing/2014/main" id="{E9ED9084-7E40-158F-1686-83FB564B822A}"/>
                </a:ext>
              </a:extLst>
            </p:cNvPr>
            <p:cNvSpPr>
              <a:spLocks noChangeArrowheads="1"/>
            </p:cNvSpPr>
            <p:nvPr/>
          </p:nvSpPr>
          <p:spPr bwMode="auto">
            <a:xfrm>
              <a:off x="982662" y="1847850"/>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Freeform 51">
              <a:extLst>
                <a:ext uri="{FF2B5EF4-FFF2-40B4-BE49-F238E27FC236}">
                  <a16:creationId xmlns:a16="http://schemas.microsoft.com/office/drawing/2014/main" id="{FB939517-A135-AC2C-83DB-58103A93E8E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71" name="Group 70">
            <a:extLst>
              <a:ext uri="{FF2B5EF4-FFF2-40B4-BE49-F238E27FC236}">
                <a16:creationId xmlns:a16="http://schemas.microsoft.com/office/drawing/2014/main" id="{270C8323-6FE4-BD6B-73DF-C782004195BD}"/>
              </a:ext>
            </a:extLst>
          </p:cNvPr>
          <p:cNvGrpSpPr>
            <a:grpSpLocks noChangeAspect="1"/>
          </p:cNvGrpSpPr>
          <p:nvPr/>
        </p:nvGrpSpPr>
        <p:grpSpPr>
          <a:xfrm>
            <a:off x="4922198" y="3982128"/>
            <a:ext cx="209624" cy="209624"/>
            <a:chOff x="628650" y="2251075"/>
            <a:chExt cx="269875" cy="269875"/>
          </a:xfrm>
        </p:grpSpPr>
        <p:sp>
          <p:nvSpPr>
            <p:cNvPr id="72" name="Oval 10">
              <a:extLst>
                <a:ext uri="{FF2B5EF4-FFF2-40B4-BE49-F238E27FC236}">
                  <a16:creationId xmlns:a16="http://schemas.microsoft.com/office/drawing/2014/main" id="{DBA8FC13-4473-D65C-1CDE-9975F7F3D576}"/>
                </a:ext>
              </a:extLst>
            </p:cNvPr>
            <p:cNvSpPr>
              <a:spLocks noChangeArrowheads="1"/>
            </p:cNvSpPr>
            <p:nvPr/>
          </p:nvSpPr>
          <p:spPr bwMode="auto">
            <a:xfrm>
              <a:off x="628650" y="2251075"/>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Rectangle 11">
              <a:extLst>
                <a:ext uri="{FF2B5EF4-FFF2-40B4-BE49-F238E27FC236}">
                  <a16:creationId xmlns:a16="http://schemas.microsoft.com/office/drawing/2014/main" id="{1313A53A-33F6-2613-69AC-718B240A7706}"/>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74" name="Group 73">
            <a:extLst>
              <a:ext uri="{FF2B5EF4-FFF2-40B4-BE49-F238E27FC236}">
                <a16:creationId xmlns:a16="http://schemas.microsoft.com/office/drawing/2014/main" id="{ECCE7B4F-69BD-39FF-2A49-29E569AF24E4}"/>
              </a:ext>
            </a:extLst>
          </p:cNvPr>
          <p:cNvGrpSpPr>
            <a:grpSpLocks noChangeAspect="1"/>
          </p:cNvGrpSpPr>
          <p:nvPr/>
        </p:nvGrpSpPr>
        <p:grpSpPr>
          <a:xfrm>
            <a:off x="4922198" y="4474011"/>
            <a:ext cx="209624" cy="209624"/>
            <a:chOff x="628650" y="2251075"/>
            <a:chExt cx="269875" cy="269875"/>
          </a:xfrm>
        </p:grpSpPr>
        <p:sp>
          <p:nvSpPr>
            <p:cNvPr id="75" name="Oval 10">
              <a:extLst>
                <a:ext uri="{FF2B5EF4-FFF2-40B4-BE49-F238E27FC236}">
                  <a16:creationId xmlns:a16="http://schemas.microsoft.com/office/drawing/2014/main" id="{FF7C1F61-022E-A786-CD6F-EB64EE99BB72}"/>
                </a:ext>
              </a:extLst>
            </p:cNvPr>
            <p:cNvSpPr>
              <a:spLocks noChangeArrowheads="1"/>
            </p:cNvSpPr>
            <p:nvPr/>
          </p:nvSpPr>
          <p:spPr bwMode="auto">
            <a:xfrm>
              <a:off x="628650" y="2251075"/>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Rectangle 11">
              <a:extLst>
                <a:ext uri="{FF2B5EF4-FFF2-40B4-BE49-F238E27FC236}">
                  <a16:creationId xmlns:a16="http://schemas.microsoft.com/office/drawing/2014/main" id="{B94D8622-8CC7-3549-DBC5-42589A298A8F}"/>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77" name="Group 76">
            <a:extLst>
              <a:ext uri="{FF2B5EF4-FFF2-40B4-BE49-F238E27FC236}">
                <a16:creationId xmlns:a16="http://schemas.microsoft.com/office/drawing/2014/main" id="{F9BC242B-5B86-6D3D-A328-E9F1FCFBDE0E}"/>
              </a:ext>
            </a:extLst>
          </p:cNvPr>
          <p:cNvGrpSpPr>
            <a:grpSpLocks noChangeAspect="1"/>
          </p:cNvGrpSpPr>
          <p:nvPr/>
        </p:nvGrpSpPr>
        <p:grpSpPr>
          <a:xfrm>
            <a:off x="4922198" y="4965895"/>
            <a:ext cx="209624" cy="209624"/>
            <a:chOff x="628650" y="2251075"/>
            <a:chExt cx="269875" cy="269875"/>
          </a:xfrm>
        </p:grpSpPr>
        <p:sp>
          <p:nvSpPr>
            <p:cNvPr id="78" name="Oval 10">
              <a:extLst>
                <a:ext uri="{FF2B5EF4-FFF2-40B4-BE49-F238E27FC236}">
                  <a16:creationId xmlns:a16="http://schemas.microsoft.com/office/drawing/2014/main" id="{3E1E62EB-378E-1323-8D46-8FF3AC8B5CC6}"/>
                </a:ext>
              </a:extLst>
            </p:cNvPr>
            <p:cNvSpPr>
              <a:spLocks noChangeArrowheads="1"/>
            </p:cNvSpPr>
            <p:nvPr/>
          </p:nvSpPr>
          <p:spPr bwMode="auto">
            <a:xfrm>
              <a:off x="628650" y="2251075"/>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9" name="Rectangle 11">
              <a:extLst>
                <a:ext uri="{FF2B5EF4-FFF2-40B4-BE49-F238E27FC236}">
                  <a16:creationId xmlns:a16="http://schemas.microsoft.com/office/drawing/2014/main" id="{B19293D7-0009-6917-2590-BD09CDA6AE37}"/>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pSp>
        <p:nvGrpSpPr>
          <p:cNvPr id="80" name="Group 79">
            <a:extLst>
              <a:ext uri="{FF2B5EF4-FFF2-40B4-BE49-F238E27FC236}">
                <a16:creationId xmlns:a16="http://schemas.microsoft.com/office/drawing/2014/main" id="{165B90F0-407D-A62F-30F2-5EC8F6EF47DF}"/>
              </a:ext>
            </a:extLst>
          </p:cNvPr>
          <p:cNvGrpSpPr>
            <a:grpSpLocks noChangeAspect="1"/>
          </p:cNvGrpSpPr>
          <p:nvPr/>
        </p:nvGrpSpPr>
        <p:grpSpPr>
          <a:xfrm>
            <a:off x="4922198" y="5522569"/>
            <a:ext cx="209624" cy="209624"/>
            <a:chOff x="628650" y="2251075"/>
            <a:chExt cx="269875" cy="269875"/>
          </a:xfrm>
        </p:grpSpPr>
        <p:sp>
          <p:nvSpPr>
            <p:cNvPr id="81" name="Oval 10">
              <a:extLst>
                <a:ext uri="{FF2B5EF4-FFF2-40B4-BE49-F238E27FC236}">
                  <a16:creationId xmlns:a16="http://schemas.microsoft.com/office/drawing/2014/main" id="{2E4E0186-31B4-76FF-DCF0-D8A99064D33F}"/>
                </a:ext>
              </a:extLst>
            </p:cNvPr>
            <p:cNvSpPr>
              <a:spLocks noChangeArrowheads="1"/>
            </p:cNvSpPr>
            <p:nvPr/>
          </p:nvSpPr>
          <p:spPr bwMode="auto">
            <a:xfrm>
              <a:off x="628650" y="2251075"/>
              <a:ext cx="269875" cy="269875"/>
            </a:xfrm>
            <a:prstGeom prst="ellipse">
              <a:avLst/>
            </a:prstGeom>
            <a:solidFill>
              <a:srgbClr val="1A5BA7">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2" name="Rectangle 11">
              <a:extLst>
                <a:ext uri="{FF2B5EF4-FFF2-40B4-BE49-F238E27FC236}">
                  <a16:creationId xmlns:a16="http://schemas.microsoft.com/office/drawing/2014/main" id="{100F6117-BCAD-ABE0-E0D2-E8732A0125A9}"/>
                </a:ext>
              </a:extLst>
            </p:cNvPr>
            <p:cNvSpPr>
              <a:spLocks noChangeArrowheads="1"/>
            </p:cNvSpPr>
            <p:nvPr/>
          </p:nvSpPr>
          <p:spPr bwMode="auto">
            <a:xfrm>
              <a:off x="690562" y="2378075"/>
              <a:ext cx="146050" cy="17462"/>
            </a:xfrm>
            <a:prstGeom prst="rect">
              <a:avLst/>
            </a:pr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graphicFrame>
        <p:nvGraphicFramePr>
          <p:cNvPr id="2" name="think-cell data - do not delete" hidden="1">
            <a:extLst>
              <a:ext uri="{FF2B5EF4-FFF2-40B4-BE49-F238E27FC236}">
                <a16:creationId xmlns:a16="http://schemas.microsoft.com/office/drawing/2014/main" id="{25C83CAB-43F6-C960-2239-B5A504E850AA}"/>
              </a:ext>
            </a:extLst>
          </p:cNvPr>
          <p:cNvGraphicFramePr>
            <a:graphicFrameLocks noChangeAspect="1"/>
          </p:cNvGraphicFramePr>
          <p:nvPr>
            <p:custDataLst>
              <p:tags r:id="rId2"/>
            </p:custDataLst>
            <p:extLst>
              <p:ext uri="{D42A27DB-BD31-4B8C-83A1-F6EECF244321}">
                <p14:modId xmlns:p14="http://schemas.microsoft.com/office/powerpoint/2010/main" val="274806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89" imgH="396" progId="TCLayout.ActiveDocument.1">
                  <p:embed/>
                </p:oleObj>
              </mc:Choice>
              <mc:Fallback>
                <p:oleObj name="think-cell Slide" r:id="rId12" imgW="389" imgH="396" progId="TCLayout.ActiveDocument.1">
                  <p:embed/>
                  <p:pic>
                    <p:nvPicPr>
                      <p:cNvPr id="2" name="think-cell data - do not delete" hidden="1">
                        <a:extLst>
                          <a:ext uri="{FF2B5EF4-FFF2-40B4-BE49-F238E27FC236}">
                            <a16:creationId xmlns:a16="http://schemas.microsoft.com/office/drawing/2014/main" id="{25C83CAB-43F6-C960-2239-B5A504E850A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Textfeld 1">
            <a:extLst>
              <a:ext uri="{FF2B5EF4-FFF2-40B4-BE49-F238E27FC236}">
                <a16:creationId xmlns:a16="http://schemas.microsoft.com/office/drawing/2014/main" id="{B61E68EB-20AF-9B58-6E87-CEED09A2A823}"/>
              </a:ext>
            </a:extLst>
          </p:cNvPr>
          <p:cNvSpPr txBox="1"/>
          <p:nvPr>
            <p:custDataLst>
              <p:tags r:id="rId3"/>
            </p:custDataLst>
          </p:nvPr>
        </p:nvSpPr>
        <p:spPr>
          <a:xfrm rot="600000">
            <a:off x="3581400" y="3170468"/>
            <a:ext cx="5029200" cy="5170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sz="3200" b="1" dirty="0">
                <a:solidFill>
                  <a:srgbClr val="000000"/>
                </a:solidFill>
                <a:sym typeface="Trebuchet MS" panose="020B0603020202020204" pitchFamily="34" charset="0"/>
              </a:rPr>
              <a:t>WORK IN PROGRESS</a:t>
            </a:r>
          </a:p>
        </p:txBody>
      </p:sp>
    </p:spTree>
    <p:extLst>
      <p:ext uri="{BB962C8B-B14F-4D97-AF65-F5344CB8AC3E}">
        <p14:creationId xmlns:p14="http://schemas.microsoft.com/office/powerpoint/2010/main" val="343121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341EB3BA-4450-CF35-C35B-46730083613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4" name="think-cell data - do not delete" hidden="1">
                        <a:extLst>
                          <a:ext uri="{FF2B5EF4-FFF2-40B4-BE49-F238E27FC236}">
                            <a16:creationId xmlns:a16="http://schemas.microsoft.com/office/drawing/2014/main" id="{341EB3BA-4450-CF35-C35B-46730083613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24468BD-3893-85FF-D0C9-10981A82F992}"/>
              </a:ext>
            </a:extLst>
          </p:cNvPr>
          <p:cNvSpPr/>
          <p:nvPr/>
        </p:nvSpPr>
        <p:spPr>
          <a:xfrm>
            <a:off x="1" y="0"/>
            <a:ext cx="4114800" cy="6858000"/>
          </a:xfrm>
          <a:prstGeom prst="rect">
            <a:avLst/>
          </a:prstGeom>
          <a:solidFill>
            <a:srgbClr val="1A5BA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53A09577-32AA-72BC-CA35-1ABAF5F41FE8}"/>
              </a:ext>
            </a:extLst>
          </p:cNvPr>
          <p:cNvSpPr txBox="1">
            <a:spLocks/>
          </p:cNvSpPr>
          <p:nvPr/>
        </p:nvSpPr>
        <p:spPr>
          <a:xfrm>
            <a:off x="493460" y="2274838"/>
            <a:ext cx="3127881" cy="23083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200" b="1" i="0" kern="1200">
                <a:solidFill>
                  <a:schemeClr val="tx1"/>
                </a:solidFill>
                <a:latin typeface="Oswald SemiBold"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rPr>
              <a:t>Key reminders for Tranche-2</a:t>
            </a:r>
          </a:p>
        </p:txBody>
      </p:sp>
      <p:cxnSp>
        <p:nvCxnSpPr>
          <p:cNvPr id="3" name="Straight Connector 2">
            <a:extLst>
              <a:ext uri="{FF2B5EF4-FFF2-40B4-BE49-F238E27FC236}">
                <a16:creationId xmlns:a16="http://schemas.microsoft.com/office/drawing/2014/main" id="{D3EB5809-63C6-2C67-6015-195FE114990A}"/>
              </a:ext>
            </a:extLst>
          </p:cNvPr>
          <p:cNvCxnSpPr/>
          <p:nvPr/>
        </p:nvCxnSpPr>
        <p:spPr>
          <a:xfrm>
            <a:off x="4887594" y="0"/>
            <a:ext cx="0" cy="6858000"/>
          </a:xfrm>
          <a:prstGeom prst="line">
            <a:avLst/>
          </a:prstGeom>
          <a:ln w="19050" cap="rnd">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2D414577-5D44-A2A5-0FE9-9B0B12ABE7B8}"/>
              </a:ext>
            </a:extLst>
          </p:cNvPr>
          <p:cNvGrpSpPr/>
          <p:nvPr/>
        </p:nvGrpSpPr>
        <p:grpSpPr>
          <a:xfrm>
            <a:off x="4404333" y="593302"/>
            <a:ext cx="6949467" cy="966523"/>
            <a:chOff x="4404333" y="2784438"/>
            <a:chExt cx="6949467" cy="966523"/>
          </a:xfrm>
        </p:grpSpPr>
        <p:sp>
          <p:nvSpPr>
            <p:cNvPr id="12" name="Rectangle 11">
              <a:extLst>
                <a:ext uri="{FF2B5EF4-FFF2-40B4-BE49-F238E27FC236}">
                  <a16:creationId xmlns:a16="http://schemas.microsoft.com/office/drawing/2014/main" id="{DB14456A-B5EB-4A7B-FDF8-231C50681FF0}"/>
                </a:ext>
              </a:extLst>
            </p:cNvPr>
            <p:cNvSpPr/>
            <p:nvPr/>
          </p:nvSpPr>
          <p:spPr>
            <a:xfrm>
              <a:off x="5660389" y="3023115"/>
              <a:ext cx="5693411" cy="4891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 should submit your strongest applications, but keep in mind your service commitment if selected</a:t>
              </a:r>
            </a:p>
          </p:txBody>
        </p:sp>
        <p:sp>
          <p:nvSpPr>
            <p:cNvPr id="10" name="Oval 9">
              <a:extLst>
                <a:ext uri="{FF2B5EF4-FFF2-40B4-BE49-F238E27FC236}">
                  <a16:creationId xmlns:a16="http://schemas.microsoft.com/office/drawing/2014/main" id="{EC9033FC-ED11-BF5C-58ED-9C30E7E360B0}"/>
                </a:ext>
              </a:extLst>
            </p:cNvPr>
            <p:cNvSpPr/>
            <p:nvPr/>
          </p:nvSpPr>
          <p:spPr>
            <a:xfrm>
              <a:off x="4404333" y="278443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1" name="Oval 10">
              <a:extLst>
                <a:ext uri="{FF2B5EF4-FFF2-40B4-BE49-F238E27FC236}">
                  <a16:creationId xmlns:a16="http://schemas.microsoft.com/office/drawing/2014/main" id="{EB140BDD-31A0-E3F5-FCDA-59C477033CEC}"/>
                </a:ext>
              </a:extLst>
            </p:cNvPr>
            <p:cNvSpPr/>
            <p:nvPr/>
          </p:nvSpPr>
          <p:spPr>
            <a:xfrm>
              <a:off x="4484605" y="2864710"/>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0" name="Oval 19">
              <a:extLst>
                <a:ext uri="{FF2B5EF4-FFF2-40B4-BE49-F238E27FC236}">
                  <a16:creationId xmlns:a16="http://schemas.microsoft.com/office/drawing/2014/main" id="{733D136E-A338-06C6-F145-81DCE26117E0}"/>
                </a:ext>
              </a:extLst>
            </p:cNvPr>
            <p:cNvSpPr>
              <a:spLocks noChangeAspect="1" noChangeArrowheads="1"/>
            </p:cNvSpPr>
            <p:nvPr/>
          </p:nvSpPr>
          <p:spPr bwMode="auto">
            <a:xfrm>
              <a:off x="4603707" y="2983813"/>
              <a:ext cx="567774" cy="567774"/>
            </a:xfrm>
            <a:prstGeom prst="ellipse">
              <a:avLst/>
            </a:prstGeom>
            <a:solidFill>
              <a:srgbClr val="1A5BA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lumMod val="100000"/>
                    </a:srgbClr>
                  </a:solidFill>
                  <a:effectLst/>
                  <a:uLnTx/>
                  <a:uFillTx/>
                  <a:latin typeface="Arial" panose="020B0604020202020204" pitchFamily="34" charset="0"/>
                  <a:ea typeface="+mn-ea"/>
                  <a:cs typeface="Arial" panose="020B0604020202020204" pitchFamily="34" charset="0"/>
                </a:rPr>
                <a:t>1</a:t>
              </a:r>
            </a:p>
          </p:txBody>
        </p:sp>
      </p:grpSp>
      <p:grpSp>
        <p:nvGrpSpPr>
          <p:cNvPr id="22" name="Group 21">
            <a:extLst>
              <a:ext uri="{FF2B5EF4-FFF2-40B4-BE49-F238E27FC236}">
                <a16:creationId xmlns:a16="http://schemas.microsoft.com/office/drawing/2014/main" id="{2F4D14DA-366C-9ED9-DB14-0BC2B87F8B43}"/>
              </a:ext>
            </a:extLst>
          </p:cNvPr>
          <p:cNvGrpSpPr/>
          <p:nvPr/>
        </p:nvGrpSpPr>
        <p:grpSpPr>
          <a:xfrm>
            <a:off x="4404333" y="2159477"/>
            <a:ext cx="6949467" cy="966523"/>
            <a:chOff x="4404333" y="4583162"/>
            <a:chExt cx="6949467" cy="966523"/>
          </a:xfrm>
        </p:grpSpPr>
        <p:sp>
          <p:nvSpPr>
            <p:cNvPr id="15" name="Rectangle 14">
              <a:extLst>
                <a:ext uri="{FF2B5EF4-FFF2-40B4-BE49-F238E27FC236}">
                  <a16:creationId xmlns:a16="http://schemas.microsoft.com/office/drawing/2014/main" id="{C02E8B44-64CD-C610-9B01-0403BDAE2BBA}"/>
                </a:ext>
              </a:extLst>
            </p:cNvPr>
            <p:cNvSpPr/>
            <p:nvPr/>
          </p:nvSpPr>
          <p:spPr>
            <a:xfrm>
              <a:off x="5660389" y="4821839"/>
              <a:ext cx="5693411" cy="4891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u must complete any revisions and </a:t>
              </a:r>
              <a:r>
                <a:rPr kumimoji="0" lang="en-US" sz="2000" b="1" i="0" u="none" strike="noStrike" kern="1200" cap="none" spc="0" normalizeH="0" baseline="0" noProof="0" dirty="0">
                  <a:ln>
                    <a:noFill/>
                  </a:ln>
                  <a:solidFill>
                    <a:srgbClr val="1A5BA7"/>
                  </a:solidFill>
                  <a:effectLst/>
                  <a:uLnTx/>
                  <a:uFillTx/>
                  <a:latin typeface="Arial" panose="020B0604020202020204" pitchFamily="34" charset="0"/>
                  <a:ea typeface="+mn-ea"/>
                  <a:cs typeface="Arial" panose="020B0604020202020204" pitchFamily="34" charset="0"/>
                </a:rPr>
                <a:t>submit</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ithin the 2-week application period. No exceptions </a:t>
              </a:r>
            </a:p>
          </p:txBody>
        </p:sp>
        <p:sp>
          <p:nvSpPr>
            <p:cNvPr id="13" name="Oval 12">
              <a:extLst>
                <a:ext uri="{FF2B5EF4-FFF2-40B4-BE49-F238E27FC236}">
                  <a16:creationId xmlns:a16="http://schemas.microsoft.com/office/drawing/2014/main" id="{702658FA-E8C3-1757-EB91-DE11AE2AC249}"/>
                </a:ext>
              </a:extLst>
            </p:cNvPr>
            <p:cNvSpPr/>
            <p:nvPr/>
          </p:nvSpPr>
          <p:spPr>
            <a:xfrm>
              <a:off x="4404333" y="4583162"/>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4" name="Oval 13">
              <a:extLst>
                <a:ext uri="{FF2B5EF4-FFF2-40B4-BE49-F238E27FC236}">
                  <a16:creationId xmlns:a16="http://schemas.microsoft.com/office/drawing/2014/main" id="{1A6A5010-383D-3C34-D27D-E198F66A3546}"/>
                </a:ext>
              </a:extLst>
            </p:cNvPr>
            <p:cNvSpPr/>
            <p:nvPr/>
          </p:nvSpPr>
          <p:spPr>
            <a:xfrm>
              <a:off x="4484604" y="4663433"/>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1" name="Oval 20">
              <a:extLst>
                <a:ext uri="{FF2B5EF4-FFF2-40B4-BE49-F238E27FC236}">
                  <a16:creationId xmlns:a16="http://schemas.microsoft.com/office/drawing/2014/main" id="{9C72715D-11F1-7428-ECEB-F91EA1FA1363}"/>
                </a:ext>
              </a:extLst>
            </p:cNvPr>
            <p:cNvSpPr>
              <a:spLocks noChangeAspect="1" noChangeArrowheads="1"/>
            </p:cNvSpPr>
            <p:nvPr/>
          </p:nvSpPr>
          <p:spPr bwMode="auto">
            <a:xfrm>
              <a:off x="4603707" y="4782536"/>
              <a:ext cx="567774" cy="567774"/>
            </a:xfrm>
            <a:prstGeom prst="ellipse">
              <a:avLst/>
            </a:prstGeom>
            <a:solidFill>
              <a:srgbClr val="1A5BA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Arial" panose="020B0604020202020204" pitchFamily="34" charset="0"/>
                </a:rPr>
                <a:t>2</a:t>
              </a:r>
            </a:p>
          </p:txBody>
        </p:sp>
      </p:grpSp>
      <p:grpSp>
        <p:nvGrpSpPr>
          <p:cNvPr id="26" name="Group 25">
            <a:extLst>
              <a:ext uri="{FF2B5EF4-FFF2-40B4-BE49-F238E27FC236}">
                <a16:creationId xmlns:a16="http://schemas.microsoft.com/office/drawing/2014/main" id="{2C7E3C9B-06C1-FC0E-E3CE-9044BA1FE588}"/>
              </a:ext>
            </a:extLst>
          </p:cNvPr>
          <p:cNvGrpSpPr/>
          <p:nvPr/>
        </p:nvGrpSpPr>
        <p:grpSpPr>
          <a:xfrm>
            <a:off x="4404333" y="5291827"/>
            <a:ext cx="6949467" cy="966523"/>
            <a:chOff x="4404333" y="4583162"/>
            <a:chExt cx="6949467" cy="966523"/>
          </a:xfrm>
        </p:grpSpPr>
        <p:sp>
          <p:nvSpPr>
            <p:cNvPr id="27" name="Rectangle 26">
              <a:extLst>
                <a:ext uri="{FF2B5EF4-FFF2-40B4-BE49-F238E27FC236}">
                  <a16:creationId xmlns:a16="http://schemas.microsoft.com/office/drawing/2014/main" id="{CAE821C3-EBAF-60CE-D612-2D4DC97A9F02}"/>
                </a:ext>
              </a:extLst>
            </p:cNvPr>
            <p:cNvSpPr/>
            <p:nvPr/>
          </p:nvSpPr>
          <p:spPr>
            <a:xfrm>
              <a:off x="5660389" y="4821839"/>
              <a:ext cx="5693411" cy="4891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applicant portal opens on Tuesday, February </a:t>
              </a:r>
              <a:r>
                <a:rPr lang="en-US" sz="2000" dirty="0">
                  <a:solidFill>
                    <a:srgbClr val="000000"/>
                  </a:solidFill>
                  <a:latin typeface="Arial" panose="020B0604020202020204" pitchFamily="34" charset="0"/>
                  <a:cs typeface="Arial" panose="020B0604020202020204" pitchFamily="34" charset="0"/>
                </a:rPr>
                <a:t>25</a:t>
              </a:r>
              <a:r>
                <a:rPr kumimoji="0" lang="en-US" sz="2000"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th</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12:00 p.m. and closes on Tuesday, </a:t>
              </a:r>
              <a:r>
                <a:rPr lang="en-US" sz="2000" dirty="0">
                  <a:solidFill>
                    <a:srgbClr val="000000"/>
                  </a:solidFill>
                  <a:latin typeface="Arial" panose="020B0604020202020204" pitchFamily="34" charset="0"/>
                  <a:cs typeface="Arial" panose="020B0604020202020204" pitchFamily="34" charset="0"/>
                </a:rPr>
                <a:t>March</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11</a:t>
              </a:r>
              <a:r>
                <a:rPr kumimoji="0" lang="en-US" sz="2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th</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6:00 p.m.</a:t>
              </a:r>
            </a:p>
          </p:txBody>
        </p:sp>
        <p:sp>
          <p:nvSpPr>
            <p:cNvPr id="28" name="Oval 27">
              <a:extLst>
                <a:ext uri="{FF2B5EF4-FFF2-40B4-BE49-F238E27FC236}">
                  <a16:creationId xmlns:a16="http://schemas.microsoft.com/office/drawing/2014/main" id="{4265A20A-1A05-2A0D-FFD7-AA16D513E728}"/>
                </a:ext>
              </a:extLst>
            </p:cNvPr>
            <p:cNvSpPr/>
            <p:nvPr/>
          </p:nvSpPr>
          <p:spPr>
            <a:xfrm>
              <a:off x="4404333" y="4583162"/>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87125D6C-15AA-2195-71E2-FCF51CBEF05A}"/>
                </a:ext>
              </a:extLst>
            </p:cNvPr>
            <p:cNvSpPr/>
            <p:nvPr/>
          </p:nvSpPr>
          <p:spPr>
            <a:xfrm>
              <a:off x="4484604" y="4663433"/>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89E742C6-78F0-842A-5D2D-7DD9E09C8EF8}"/>
                </a:ext>
              </a:extLst>
            </p:cNvPr>
            <p:cNvSpPr>
              <a:spLocks noChangeAspect="1" noChangeArrowheads="1"/>
            </p:cNvSpPr>
            <p:nvPr/>
          </p:nvSpPr>
          <p:spPr bwMode="auto">
            <a:xfrm>
              <a:off x="4603707" y="4782536"/>
              <a:ext cx="567774" cy="567774"/>
            </a:xfrm>
            <a:prstGeom prst="ellipse">
              <a:avLst/>
            </a:prstGeom>
            <a:solidFill>
              <a:srgbClr val="1A5BA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FFFFFF">
                      <a:lumMod val="100000"/>
                    </a:srgbClr>
                  </a:solidFill>
                  <a:latin typeface="Arial" panose="020B0604020202020204" pitchFamily="34" charset="0"/>
                  <a:cs typeface="Arial" panose="020B0604020202020204" pitchFamily="34" charset="0"/>
                </a:rPr>
                <a:t>4</a:t>
              </a:r>
              <a:endParaRPr kumimoji="0" lang="en-US" sz="2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Arial" panose="020B0604020202020204" pitchFamily="34" charset="0"/>
              </a:endParaRPr>
            </a:p>
          </p:txBody>
        </p:sp>
      </p:grpSp>
      <p:graphicFrame>
        <p:nvGraphicFramePr>
          <p:cNvPr id="18" name="think-cell data - do not delete" hidden="1">
            <a:extLst>
              <a:ext uri="{FF2B5EF4-FFF2-40B4-BE49-F238E27FC236}">
                <a16:creationId xmlns:a16="http://schemas.microsoft.com/office/drawing/2014/main" id="{06B2E175-BA9F-0154-CEC3-53423C65B4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89" imgH="396" progId="TCLayout.ActiveDocument.1">
                  <p:embed/>
                </p:oleObj>
              </mc:Choice>
              <mc:Fallback>
                <p:oleObj name="think-cell Slide" r:id="rId9" imgW="389" imgH="396" progId="TCLayout.ActiveDocument.1">
                  <p:embed/>
                  <p:pic>
                    <p:nvPicPr>
                      <p:cNvPr id="18" name="think-cell data - do not delete" hidden="1">
                        <a:extLst>
                          <a:ext uri="{FF2B5EF4-FFF2-40B4-BE49-F238E27FC236}">
                            <a16:creationId xmlns:a16="http://schemas.microsoft.com/office/drawing/2014/main" id="{06B2E175-BA9F-0154-CEC3-53423C65B4E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31" name="Group 30">
            <a:extLst>
              <a:ext uri="{FF2B5EF4-FFF2-40B4-BE49-F238E27FC236}">
                <a16:creationId xmlns:a16="http://schemas.microsoft.com/office/drawing/2014/main" id="{1471E0C5-4A64-BAAB-89B5-8C8CEC27A144}"/>
              </a:ext>
            </a:extLst>
          </p:cNvPr>
          <p:cNvGrpSpPr/>
          <p:nvPr/>
        </p:nvGrpSpPr>
        <p:grpSpPr>
          <a:xfrm>
            <a:off x="4404333" y="3725652"/>
            <a:ext cx="6949467" cy="966523"/>
            <a:chOff x="4404333" y="4583162"/>
            <a:chExt cx="6949467" cy="966523"/>
          </a:xfrm>
        </p:grpSpPr>
        <p:sp>
          <p:nvSpPr>
            <p:cNvPr id="32" name="Rectangle 31">
              <a:extLst>
                <a:ext uri="{FF2B5EF4-FFF2-40B4-BE49-F238E27FC236}">
                  <a16:creationId xmlns:a16="http://schemas.microsoft.com/office/drawing/2014/main" id="{BBD0D042-F6C1-25F1-EE4B-61EBC1770492}"/>
                </a:ext>
              </a:extLst>
            </p:cNvPr>
            <p:cNvSpPr/>
            <p:nvPr/>
          </p:nvSpPr>
          <p:spPr>
            <a:xfrm>
              <a:off x="5660389" y="4821839"/>
              <a:ext cx="5693411" cy="4891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ried Forward applications will automatically be resubmitted at the close of the</a:t>
              </a:r>
              <a:r>
                <a:rPr lang="en-US" sz="2000" dirty="0">
                  <a:solidFill>
                    <a:srgbClr val="000000"/>
                  </a:solidFill>
                  <a:latin typeface="Arial" panose="020B0604020202020204" pitchFamily="34" charset="0"/>
                  <a:cs typeface="Arial" panose="020B0604020202020204" pitchFamily="34" charset="0"/>
                </a:rPr>
                <a:t> application window, but you are encouraged to manually submit. Any unsubmitted modifications will not be captured</a:t>
              </a: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Oval 32">
              <a:extLst>
                <a:ext uri="{FF2B5EF4-FFF2-40B4-BE49-F238E27FC236}">
                  <a16:creationId xmlns:a16="http://schemas.microsoft.com/office/drawing/2014/main" id="{6434BDA5-BC6C-DD3D-0F07-5F8F19E4EA49}"/>
                </a:ext>
              </a:extLst>
            </p:cNvPr>
            <p:cNvSpPr/>
            <p:nvPr/>
          </p:nvSpPr>
          <p:spPr>
            <a:xfrm>
              <a:off x="4404333" y="4583162"/>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34" name="Oval 33">
              <a:extLst>
                <a:ext uri="{FF2B5EF4-FFF2-40B4-BE49-F238E27FC236}">
                  <a16:creationId xmlns:a16="http://schemas.microsoft.com/office/drawing/2014/main" id="{EC27666E-E044-919E-F7E2-8FD468E4C207}"/>
                </a:ext>
              </a:extLst>
            </p:cNvPr>
            <p:cNvSpPr/>
            <p:nvPr/>
          </p:nvSpPr>
          <p:spPr>
            <a:xfrm>
              <a:off x="4484604" y="4663433"/>
              <a:ext cx="805980" cy="805980"/>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35" name="Oval 34">
              <a:extLst>
                <a:ext uri="{FF2B5EF4-FFF2-40B4-BE49-F238E27FC236}">
                  <a16:creationId xmlns:a16="http://schemas.microsoft.com/office/drawing/2014/main" id="{983077F0-9E8C-AA5A-0F1D-D1F77CE0168A}"/>
                </a:ext>
              </a:extLst>
            </p:cNvPr>
            <p:cNvSpPr>
              <a:spLocks noChangeAspect="1" noChangeArrowheads="1"/>
            </p:cNvSpPr>
            <p:nvPr/>
          </p:nvSpPr>
          <p:spPr bwMode="auto">
            <a:xfrm>
              <a:off x="4603707" y="4782536"/>
              <a:ext cx="567774" cy="567774"/>
            </a:xfrm>
            <a:prstGeom prst="ellipse">
              <a:avLst/>
            </a:prstGeom>
            <a:solidFill>
              <a:srgbClr val="1A5BA7"/>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100000"/>
                    </a:srgbClr>
                  </a:solidFill>
                  <a:effectLst/>
                  <a:uLnTx/>
                  <a:uFillTx/>
                  <a:latin typeface="Arial" panose="020B0604020202020204" pitchFamily="34" charset="0"/>
                  <a:ea typeface="+mn-ea"/>
                  <a:cs typeface="Arial" panose="020B0604020202020204" pitchFamily="34" charset="0"/>
                </a:rPr>
                <a:t>3</a:t>
              </a:r>
            </a:p>
          </p:txBody>
        </p:sp>
      </p:grpSp>
      <p:graphicFrame>
        <p:nvGraphicFramePr>
          <p:cNvPr id="2" name="think-cell data - do not delete" hidden="1">
            <a:extLst>
              <a:ext uri="{FF2B5EF4-FFF2-40B4-BE49-F238E27FC236}">
                <a16:creationId xmlns:a16="http://schemas.microsoft.com/office/drawing/2014/main" id="{EA909BEB-BE15-DDDA-DE0A-38C94198E3CA}"/>
              </a:ext>
            </a:extLst>
          </p:cNvPr>
          <p:cNvGraphicFramePr>
            <a:graphicFrameLocks noChangeAspect="1"/>
          </p:cNvGraphicFramePr>
          <p:nvPr>
            <p:custDataLst>
              <p:tags r:id="rId3"/>
            </p:custDataLst>
            <p:extLst>
              <p:ext uri="{D42A27DB-BD31-4B8C-83A1-F6EECF244321}">
                <p14:modId xmlns:p14="http://schemas.microsoft.com/office/powerpoint/2010/main" val="155562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89" imgH="396" progId="TCLayout.ActiveDocument.1">
                  <p:embed/>
                </p:oleObj>
              </mc:Choice>
              <mc:Fallback>
                <p:oleObj name="think-cell Slide" r:id="rId9" imgW="389" imgH="396" progId="TCLayout.ActiveDocument.1">
                  <p:embed/>
                  <p:pic>
                    <p:nvPicPr>
                      <p:cNvPr id="2" name="think-cell data - do not delete" hidden="1">
                        <a:extLst>
                          <a:ext uri="{FF2B5EF4-FFF2-40B4-BE49-F238E27FC236}">
                            <a16:creationId xmlns:a16="http://schemas.microsoft.com/office/drawing/2014/main" id="{EA909BEB-BE15-DDDA-DE0A-38C94198E3C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1">
            <a:extLst>
              <a:ext uri="{FF2B5EF4-FFF2-40B4-BE49-F238E27FC236}">
                <a16:creationId xmlns:a16="http://schemas.microsoft.com/office/drawing/2014/main" id="{7CDCD4DD-3FB1-57E8-8323-0D16992B3DA8}"/>
              </a:ext>
            </a:extLst>
          </p:cNvPr>
          <p:cNvSpPr txBox="1"/>
          <p:nvPr>
            <p:custDataLst>
              <p:tags r:id="rId4"/>
            </p:custDataLst>
          </p:nvPr>
        </p:nvSpPr>
        <p:spPr>
          <a:xfrm rot="600000">
            <a:off x="3581400" y="3170468"/>
            <a:ext cx="5029200" cy="5170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sz="3200" b="1" dirty="0">
                <a:solidFill>
                  <a:srgbClr val="000000"/>
                </a:solidFill>
                <a:sym typeface="Trebuchet MS" panose="020B0603020202020204" pitchFamily="34" charset="0"/>
              </a:rPr>
              <a:t>WORK IN PROGRESS</a:t>
            </a:r>
          </a:p>
        </p:txBody>
      </p:sp>
    </p:spTree>
    <p:extLst>
      <p:ext uri="{BB962C8B-B14F-4D97-AF65-F5344CB8AC3E}">
        <p14:creationId xmlns:p14="http://schemas.microsoft.com/office/powerpoint/2010/main" val="29073020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B050BE20-C946-60B0-F3C8-34BF7169C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73" name="think-cell data - do not delete" hidden="1">
                        <a:extLst>
                          <a:ext uri="{FF2B5EF4-FFF2-40B4-BE49-F238E27FC236}">
                            <a16:creationId xmlns:a16="http://schemas.microsoft.com/office/drawing/2014/main" id="{B050BE20-C946-60B0-F3C8-34BF7169CB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55" name="Straight Connector 54">
            <a:extLst>
              <a:ext uri="{FF2B5EF4-FFF2-40B4-BE49-F238E27FC236}">
                <a16:creationId xmlns:a16="http://schemas.microsoft.com/office/drawing/2014/main" id="{9F6951E0-7061-88A9-CB09-5AC37551FFDF}"/>
              </a:ext>
            </a:extLst>
          </p:cNvPr>
          <p:cNvCxnSpPr>
            <a:cxnSpLocks/>
          </p:cNvCxnSpPr>
          <p:nvPr/>
        </p:nvCxnSpPr>
        <p:spPr>
          <a:xfrm flipV="1">
            <a:off x="10991695" y="3775579"/>
            <a:ext cx="0" cy="509436"/>
          </a:xfrm>
          <a:prstGeom prst="line">
            <a:avLst/>
          </a:prstGeom>
          <a:ln w="9525" cap="rnd" cmpd="sng" algn="ctr">
            <a:solidFill>
              <a:srgbClr val="9A9A9A"/>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753192D-12C7-BE8B-B04E-7314B8C7C81B}"/>
              </a:ext>
            </a:extLst>
          </p:cNvPr>
          <p:cNvSpPr>
            <a:spLocks noGrp="1"/>
          </p:cNvSpPr>
          <p:nvPr>
            <p:ph type="title"/>
          </p:nvPr>
        </p:nvSpPr>
        <p:spPr>
          <a:xfrm>
            <a:off x="630000" y="622800"/>
            <a:ext cx="10933350" cy="332399"/>
          </a:xfrm>
        </p:spPr>
        <p:txBody>
          <a:bodyPr vert="horz"/>
          <a:lstStyle/>
          <a:p>
            <a:r>
              <a:rPr lang="en-US">
                <a:solidFill>
                  <a:schemeClr val="tx1"/>
                </a:solidFill>
              </a:rPr>
              <a:t>Recall | </a:t>
            </a:r>
            <a:r>
              <a:rPr lang="en-US">
                <a:solidFill>
                  <a:schemeClr val="tx2"/>
                </a:solidFill>
              </a:rPr>
              <a:t>Overview of </a:t>
            </a:r>
            <a:r>
              <a:rPr lang="en-US" err="1">
                <a:solidFill>
                  <a:schemeClr val="tx2"/>
                </a:solidFill>
              </a:rPr>
              <a:t>ARConnect's</a:t>
            </a:r>
            <a:r>
              <a:rPr lang="en-US">
                <a:solidFill>
                  <a:schemeClr val="tx2"/>
                </a:solidFill>
              </a:rPr>
              <a:t> approach to achieving 100% coverage</a:t>
            </a:r>
          </a:p>
        </p:txBody>
      </p:sp>
      <p:sp>
        <p:nvSpPr>
          <p:cNvPr id="14" name="Rectangle 13">
            <a:extLst>
              <a:ext uri="{FF2B5EF4-FFF2-40B4-BE49-F238E27FC236}">
                <a16:creationId xmlns:a16="http://schemas.microsoft.com/office/drawing/2014/main" id="{2EBE8EB2-1DED-6BAE-1CE2-F5F2BFD6A99E}"/>
              </a:ext>
            </a:extLst>
          </p:cNvPr>
          <p:cNvSpPr/>
          <p:nvPr/>
        </p:nvSpPr>
        <p:spPr>
          <a:xfrm>
            <a:off x="610400" y="3486378"/>
            <a:ext cx="10952945" cy="428450"/>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a:solidFill>
                <a:srgbClr val="FFFFFF"/>
              </a:solidFill>
            </a:endParaRPr>
          </a:p>
        </p:txBody>
      </p:sp>
      <p:cxnSp>
        <p:nvCxnSpPr>
          <p:cNvPr id="58" name="Straight Connector 57">
            <a:extLst>
              <a:ext uri="{FF2B5EF4-FFF2-40B4-BE49-F238E27FC236}">
                <a16:creationId xmlns:a16="http://schemas.microsoft.com/office/drawing/2014/main" id="{5E3CA9DD-5C22-533B-AEBF-95258D7A0971}"/>
              </a:ext>
            </a:extLst>
          </p:cNvPr>
          <p:cNvCxnSpPr>
            <a:cxnSpLocks/>
          </p:cNvCxnSpPr>
          <p:nvPr/>
        </p:nvCxnSpPr>
        <p:spPr>
          <a:xfrm>
            <a:off x="5431583" y="3196647"/>
            <a:ext cx="0" cy="430860"/>
          </a:xfrm>
          <a:prstGeom prst="line">
            <a:avLst/>
          </a:prstGeom>
          <a:ln w="9525" cap="rnd">
            <a:solidFill>
              <a:srgbClr val="1A5BA7"/>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9F21F19-1E67-3911-782F-70482EFAFE40}"/>
              </a:ext>
            </a:extLst>
          </p:cNvPr>
          <p:cNvCxnSpPr>
            <a:cxnSpLocks/>
          </p:cNvCxnSpPr>
          <p:nvPr/>
        </p:nvCxnSpPr>
        <p:spPr>
          <a:xfrm flipV="1">
            <a:off x="7284953" y="3775579"/>
            <a:ext cx="0" cy="509436"/>
          </a:xfrm>
          <a:prstGeom prst="line">
            <a:avLst/>
          </a:prstGeom>
          <a:ln w="9525" cap="rnd" cmpd="sng" algn="ctr">
            <a:solidFill>
              <a:srgbClr val="9A9A9A"/>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AFEB66B-B506-DDEB-BE29-DABDF58F36AF}"/>
              </a:ext>
            </a:extLst>
          </p:cNvPr>
          <p:cNvSpPr/>
          <p:nvPr/>
        </p:nvSpPr>
        <p:spPr>
          <a:xfrm>
            <a:off x="4298970" y="1613197"/>
            <a:ext cx="2846435" cy="1571801"/>
          </a:xfrm>
          <a:prstGeom prst="rect">
            <a:avLst/>
          </a:prstGeom>
          <a:noFill/>
          <a:ln w="12700" cap="rnd" cmpd="sng" algn="ctr">
            <a:solidFill>
              <a:srgbClr val="1A5BA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a:solidFill>
                  <a:srgbClr val="1A5BA7"/>
                </a:solidFill>
              </a:rPr>
              <a:t>Partial Award Eligible Outreach </a:t>
            </a:r>
          </a:p>
          <a:p>
            <a:pPr marL="171450" indent="-171450">
              <a:buFont typeface="Arial" panose="020B0604020202020204" pitchFamily="34" charset="0"/>
              <a:buChar char="•"/>
            </a:pPr>
            <a:r>
              <a:rPr lang="en-US" sz="1400">
                <a:solidFill>
                  <a:schemeClr val="tx1"/>
                </a:solidFill>
              </a:rPr>
              <a:t>Contact sole bidders on partial award eligible </a:t>
            </a:r>
            <a:r>
              <a:rPr lang="en-US" sz="1400" err="1">
                <a:solidFill>
                  <a:schemeClr val="tx1"/>
                </a:solidFill>
              </a:rPr>
              <a:t>CBGs</a:t>
            </a:r>
            <a:endParaRPr lang="en-US" sz="1400">
              <a:solidFill>
                <a:schemeClr val="tx1"/>
              </a:solidFill>
            </a:endParaRPr>
          </a:p>
          <a:p>
            <a:pPr marL="171450" indent="-171450">
              <a:buFont typeface="Arial" panose="020B0604020202020204" pitchFamily="34" charset="0"/>
              <a:buChar char="•"/>
            </a:pPr>
            <a:r>
              <a:rPr lang="en-US" sz="1400">
                <a:solidFill>
                  <a:schemeClr val="tx1"/>
                </a:solidFill>
              </a:rPr>
              <a:t>Offer prorated subsidies </a:t>
            </a:r>
          </a:p>
        </p:txBody>
      </p:sp>
      <p:sp>
        <p:nvSpPr>
          <p:cNvPr id="96" name="Rectangle 95">
            <a:extLst>
              <a:ext uri="{FF2B5EF4-FFF2-40B4-BE49-F238E27FC236}">
                <a16:creationId xmlns:a16="http://schemas.microsoft.com/office/drawing/2014/main" id="{28089C9D-9E37-2E2E-5650-78A51601180B}"/>
              </a:ext>
            </a:extLst>
          </p:cNvPr>
          <p:cNvSpPr/>
          <p:nvPr/>
        </p:nvSpPr>
        <p:spPr>
          <a:xfrm>
            <a:off x="8716910" y="1613197"/>
            <a:ext cx="2846435" cy="1571801"/>
          </a:xfrm>
          <a:prstGeom prst="rect">
            <a:avLst/>
          </a:prstGeom>
          <a:noFill/>
          <a:ln w="12700" cap="rnd" cmpd="sng" algn="ctr">
            <a:solidFill>
              <a:srgbClr val="00B05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a:solidFill>
                  <a:srgbClr val="00B050"/>
                </a:solidFill>
              </a:rPr>
              <a:t>Tranche-3 </a:t>
            </a:r>
          </a:p>
          <a:p>
            <a:pPr marL="171450" indent="-171450">
              <a:buFont typeface="Arial" panose="020B0604020202020204" pitchFamily="34" charset="0"/>
              <a:buChar char="•"/>
            </a:pPr>
            <a:r>
              <a:rPr lang="en-US" sz="1400">
                <a:solidFill>
                  <a:schemeClr val="tx1"/>
                </a:solidFill>
              </a:rPr>
              <a:t>Final Tranche of bidding for all remaining </a:t>
            </a:r>
            <a:r>
              <a:rPr lang="en-US" sz="1400" err="1">
                <a:solidFill>
                  <a:schemeClr val="tx1"/>
                </a:solidFill>
              </a:rPr>
              <a:t>CBGs</a:t>
            </a:r>
            <a:endParaRPr lang="en-US" sz="1400">
              <a:solidFill>
                <a:schemeClr val="tx1"/>
              </a:solidFill>
            </a:endParaRPr>
          </a:p>
          <a:p>
            <a:pPr marL="171450" indent="-171450">
              <a:buFont typeface="Arial" panose="020B0604020202020204" pitchFamily="34" charset="0"/>
              <a:buChar char="•"/>
            </a:pPr>
            <a:r>
              <a:rPr lang="en-US" sz="1400">
                <a:solidFill>
                  <a:schemeClr val="tx1"/>
                </a:solidFill>
              </a:rPr>
              <a:t>Open to all pre-registrants</a:t>
            </a:r>
          </a:p>
          <a:p>
            <a:pPr marL="171450" indent="-171450">
              <a:buFont typeface="Arial" panose="020B0604020202020204" pitchFamily="34" charset="0"/>
              <a:buChar char="•"/>
            </a:pPr>
            <a:r>
              <a:rPr lang="en-US" sz="1400">
                <a:solidFill>
                  <a:schemeClr val="tx1"/>
                </a:solidFill>
              </a:rPr>
              <a:t>Alternative technology eligible for selection</a:t>
            </a:r>
          </a:p>
        </p:txBody>
      </p:sp>
      <p:sp>
        <p:nvSpPr>
          <p:cNvPr id="98" name="Rectangle 97">
            <a:extLst>
              <a:ext uri="{FF2B5EF4-FFF2-40B4-BE49-F238E27FC236}">
                <a16:creationId xmlns:a16="http://schemas.microsoft.com/office/drawing/2014/main" id="{FFC213C8-75CA-B702-1737-7D8997087C28}"/>
              </a:ext>
            </a:extLst>
          </p:cNvPr>
          <p:cNvSpPr/>
          <p:nvPr/>
        </p:nvSpPr>
        <p:spPr>
          <a:xfrm>
            <a:off x="1353676" y="1613197"/>
            <a:ext cx="2846435" cy="1571801"/>
          </a:xfrm>
          <a:prstGeom prst="rect">
            <a:avLst/>
          </a:prstGeom>
          <a:noFill/>
          <a:ln w="12700" cap="rnd" cmpd="sng" algn="ctr">
            <a:solidFill>
              <a:schemeClr val="tx2"/>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a:solidFill>
                  <a:srgbClr val="1A5BA7"/>
                </a:solidFill>
              </a:rPr>
              <a:t>Close Tranche-2 </a:t>
            </a:r>
          </a:p>
          <a:p>
            <a:pPr marL="171450" indent="-171450">
              <a:buFont typeface="Arial" panose="020B0604020202020204" pitchFamily="34" charset="0"/>
              <a:buChar char="•"/>
            </a:pPr>
            <a:r>
              <a:rPr lang="en-US" sz="1400">
                <a:solidFill>
                  <a:schemeClr val="tx1"/>
                </a:solidFill>
              </a:rPr>
              <a:t>Score and adjudicate </a:t>
            </a:r>
          </a:p>
          <a:p>
            <a:pPr marL="171450" indent="-171450">
              <a:buFont typeface="Arial" panose="020B0604020202020204" pitchFamily="34" charset="0"/>
              <a:buChar char="•"/>
            </a:pPr>
            <a:r>
              <a:rPr lang="en-US" sz="1400">
                <a:solidFill>
                  <a:schemeClr val="tx1"/>
                </a:solidFill>
              </a:rPr>
              <a:t>Announce and communicate preliminary results</a:t>
            </a:r>
          </a:p>
        </p:txBody>
      </p:sp>
      <p:sp>
        <p:nvSpPr>
          <p:cNvPr id="100" name="Rectangle 99">
            <a:extLst>
              <a:ext uri="{FF2B5EF4-FFF2-40B4-BE49-F238E27FC236}">
                <a16:creationId xmlns:a16="http://schemas.microsoft.com/office/drawing/2014/main" id="{01679186-3B51-F22A-A770-CFFE2D632F37}"/>
              </a:ext>
            </a:extLst>
          </p:cNvPr>
          <p:cNvSpPr/>
          <p:nvPr/>
        </p:nvSpPr>
        <p:spPr>
          <a:xfrm>
            <a:off x="2826323" y="4285014"/>
            <a:ext cx="2846435" cy="1571801"/>
          </a:xfrm>
          <a:prstGeom prst="rect">
            <a:avLst/>
          </a:prstGeom>
          <a:noFill/>
          <a:ln w="12700" cap="rnd" cmpd="sng" algn="ctr">
            <a:solidFill>
              <a:srgbClr val="9A9A9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a:solidFill>
                  <a:srgbClr val="575757"/>
                </a:solidFill>
              </a:rPr>
              <a:t>ULFW Claims Window </a:t>
            </a:r>
          </a:p>
          <a:p>
            <a:pPr marL="171450" indent="-171450">
              <a:buFont typeface="Arial" panose="020B0604020202020204" pitchFamily="34" charset="0"/>
              <a:buChar char="•"/>
            </a:pPr>
            <a:r>
              <a:rPr lang="en-US" sz="1400">
                <a:solidFill>
                  <a:schemeClr val="tx1"/>
                </a:solidFill>
              </a:rPr>
              <a:t>Contact ULFW providers that have capacity to deliver service meeting the BEAD Program's technical requirements</a:t>
            </a:r>
            <a:endParaRPr lang="en-US" sz="1400">
              <a:solidFill>
                <a:schemeClr val="tx1"/>
              </a:solidFill>
              <a:cs typeface="Arial"/>
            </a:endParaRPr>
          </a:p>
          <a:p>
            <a:pPr marL="171450" indent="-171450">
              <a:buFont typeface="Arial" panose="020B0604020202020204" pitchFamily="34" charset="0"/>
              <a:buChar char="•"/>
            </a:pPr>
            <a:r>
              <a:rPr lang="en-US" sz="1400">
                <a:solidFill>
                  <a:schemeClr val="tx1"/>
                </a:solidFill>
                <a:cs typeface="Arial"/>
              </a:rPr>
              <a:t>7-day window</a:t>
            </a:r>
            <a:endParaRPr lang="en-US"/>
          </a:p>
        </p:txBody>
      </p:sp>
      <p:sp>
        <p:nvSpPr>
          <p:cNvPr id="101" name="Rectangle 100">
            <a:extLst>
              <a:ext uri="{FF2B5EF4-FFF2-40B4-BE49-F238E27FC236}">
                <a16:creationId xmlns:a16="http://schemas.microsoft.com/office/drawing/2014/main" id="{D376F9DC-7C95-62A3-EB08-3FAC0837C36D}"/>
              </a:ext>
            </a:extLst>
          </p:cNvPr>
          <p:cNvSpPr/>
          <p:nvPr/>
        </p:nvSpPr>
        <p:spPr>
          <a:xfrm>
            <a:off x="5771617" y="4285014"/>
            <a:ext cx="2846435" cy="1571801"/>
          </a:xfrm>
          <a:prstGeom prst="rect">
            <a:avLst/>
          </a:prstGeom>
          <a:noFill/>
          <a:ln w="12700" cap="rnd" cmpd="sng" algn="ctr">
            <a:solidFill>
              <a:srgbClr val="9A9A9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err="1">
                <a:solidFill>
                  <a:srgbClr val="575757"/>
                </a:solidFill>
              </a:rPr>
              <a:t>ULFW</a:t>
            </a:r>
            <a:r>
              <a:rPr lang="en-US" sz="1400" b="1">
                <a:solidFill>
                  <a:srgbClr val="575757"/>
                </a:solidFill>
              </a:rPr>
              <a:t> Evidence Window</a:t>
            </a:r>
          </a:p>
          <a:p>
            <a:pPr marL="171450" indent="-171450">
              <a:buFont typeface="Arial" panose="020B0604020202020204" pitchFamily="34" charset="0"/>
              <a:buChar char="•"/>
            </a:pPr>
            <a:r>
              <a:rPr lang="en-US" sz="1400">
                <a:solidFill>
                  <a:schemeClr val="tx1"/>
                </a:solidFill>
              </a:rPr>
              <a:t>Request evidence for claimed </a:t>
            </a:r>
            <a:r>
              <a:rPr lang="en-US" sz="1400" err="1">
                <a:solidFill>
                  <a:schemeClr val="tx1"/>
                </a:solidFill>
              </a:rPr>
              <a:t>ULFW</a:t>
            </a:r>
            <a:r>
              <a:rPr lang="en-US" sz="1400">
                <a:solidFill>
                  <a:schemeClr val="tx1"/>
                </a:solidFill>
              </a:rPr>
              <a:t> locations</a:t>
            </a:r>
          </a:p>
          <a:p>
            <a:pPr marL="171450" indent="-171450">
              <a:buFont typeface="Arial" panose="020B0604020202020204" pitchFamily="34" charset="0"/>
              <a:buChar char="•"/>
            </a:pPr>
            <a:r>
              <a:rPr lang="en-US" sz="1400">
                <a:solidFill>
                  <a:schemeClr val="tx1"/>
                </a:solidFill>
              </a:rPr>
              <a:t>30-day window </a:t>
            </a:r>
          </a:p>
        </p:txBody>
      </p:sp>
      <p:cxnSp>
        <p:nvCxnSpPr>
          <p:cNvPr id="111" name="Straight Connector 110">
            <a:extLst>
              <a:ext uri="{FF2B5EF4-FFF2-40B4-BE49-F238E27FC236}">
                <a16:creationId xmlns:a16="http://schemas.microsoft.com/office/drawing/2014/main" id="{85FFB4A7-BAD5-F9AB-D9C1-139780F658F0}"/>
              </a:ext>
            </a:extLst>
          </p:cNvPr>
          <p:cNvCxnSpPr>
            <a:cxnSpLocks/>
          </p:cNvCxnSpPr>
          <p:nvPr/>
        </p:nvCxnSpPr>
        <p:spPr>
          <a:xfrm>
            <a:off x="1734675" y="3196647"/>
            <a:ext cx="0" cy="430860"/>
          </a:xfrm>
          <a:prstGeom prst="line">
            <a:avLst/>
          </a:prstGeom>
          <a:ln w="9525" cap="rnd">
            <a:solidFill>
              <a:schemeClr val="tx2"/>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EA6DADC-C282-9243-9AE5-E8B6668C82DC}"/>
              </a:ext>
            </a:extLst>
          </p:cNvPr>
          <p:cNvCxnSpPr>
            <a:cxnSpLocks/>
          </p:cNvCxnSpPr>
          <p:nvPr/>
        </p:nvCxnSpPr>
        <p:spPr>
          <a:xfrm>
            <a:off x="9138322" y="3196647"/>
            <a:ext cx="0" cy="430860"/>
          </a:xfrm>
          <a:prstGeom prst="line">
            <a:avLst/>
          </a:prstGeom>
          <a:ln w="9525" cap="rnd">
            <a:solidFill>
              <a:srgbClr val="00B050"/>
            </a:solidFill>
            <a:prstDash val="solid"/>
            <a:headEnd type="ova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8C3AB23-3499-EE5F-43C5-EF49441BF74D}"/>
              </a:ext>
            </a:extLst>
          </p:cNvPr>
          <p:cNvCxnSpPr>
            <a:cxnSpLocks/>
          </p:cNvCxnSpPr>
          <p:nvPr/>
        </p:nvCxnSpPr>
        <p:spPr>
          <a:xfrm flipV="1">
            <a:off x="3578213" y="3775787"/>
            <a:ext cx="0" cy="509436"/>
          </a:xfrm>
          <a:prstGeom prst="line">
            <a:avLst/>
          </a:prstGeom>
          <a:ln w="9525" cap="rnd" cmpd="sng" algn="ctr">
            <a:solidFill>
              <a:srgbClr val="9A9A9A"/>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78E107B-4047-0B04-4BE0-5868A862D12D}"/>
              </a:ext>
            </a:extLst>
          </p:cNvPr>
          <p:cNvGrpSpPr/>
          <p:nvPr/>
        </p:nvGrpSpPr>
        <p:grpSpPr>
          <a:xfrm>
            <a:off x="1724843" y="3440040"/>
            <a:ext cx="0" cy="521126"/>
            <a:chOff x="10224431" y="4471834"/>
            <a:chExt cx="0" cy="521126"/>
          </a:xfrm>
        </p:grpSpPr>
        <p:cxnSp>
          <p:nvCxnSpPr>
            <p:cNvPr id="30" name="Straight Connector 29">
              <a:extLst>
                <a:ext uri="{FF2B5EF4-FFF2-40B4-BE49-F238E27FC236}">
                  <a16:creationId xmlns:a16="http://schemas.microsoft.com/office/drawing/2014/main" id="{48E64581-788F-349F-BDE1-2034925573B1}"/>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57AA8CB-8D82-442E-355C-807F2A50B83F}"/>
                </a:ext>
              </a:extLst>
            </p:cNvPr>
            <p:cNvCxnSpPr/>
            <p:nvPr/>
          </p:nvCxnSpPr>
          <p:spPr>
            <a:xfrm flipV="1">
              <a:off x="10224431" y="4495521"/>
              <a:ext cx="0" cy="473751"/>
            </a:xfrm>
            <a:prstGeom prst="line">
              <a:avLst/>
            </a:prstGeom>
            <a:ln w="123825"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75ABB41B-5CC6-8EAD-94CD-F57C7E42C4C6}"/>
              </a:ext>
            </a:extLst>
          </p:cNvPr>
          <p:cNvGrpSpPr/>
          <p:nvPr/>
        </p:nvGrpSpPr>
        <p:grpSpPr>
          <a:xfrm>
            <a:off x="10991694" y="3440040"/>
            <a:ext cx="0" cy="521126"/>
            <a:chOff x="10224431" y="4471834"/>
            <a:chExt cx="0" cy="521126"/>
          </a:xfrm>
        </p:grpSpPr>
        <p:cxnSp>
          <p:nvCxnSpPr>
            <p:cNvPr id="35" name="Straight Connector 34">
              <a:extLst>
                <a:ext uri="{FF2B5EF4-FFF2-40B4-BE49-F238E27FC236}">
                  <a16:creationId xmlns:a16="http://schemas.microsoft.com/office/drawing/2014/main" id="{57F18A06-865B-70CB-F870-390D7DB545EF}"/>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083C80B-2860-D33D-B2FA-4153288144D6}"/>
                </a:ext>
              </a:extLst>
            </p:cNvPr>
            <p:cNvCxnSpPr/>
            <p:nvPr/>
          </p:nvCxnSpPr>
          <p:spPr>
            <a:xfrm flipV="1">
              <a:off x="10224431" y="4495521"/>
              <a:ext cx="0" cy="473751"/>
            </a:xfrm>
            <a:prstGeom prst="line">
              <a:avLst/>
            </a:prstGeom>
            <a:ln w="1238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B9956FEA-FCBD-9500-0397-15081D78D7BE}"/>
              </a:ext>
            </a:extLst>
          </p:cNvPr>
          <p:cNvGrpSpPr/>
          <p:nvPr/>
        </p:nvGrpSpPr>
        <p:grpSpPr>
          <a:xfrm>
            <a:off x="3578213" y="3440040"/>
            <a:ext cx="0" cy="521126"/>
            <a:chOff x="10224431" y="4471834"/>
            <a:chExt cx="0" cy="521126"/>
          </a:xfrm>
        </p:grpSpPr>
        <p:cxnSp>
          <p:nvCxnSpPr>
            <p:cNvPr id="41" name="Straight Connector 40">
              <a:extLst>
                <a:ext uri="{FF2B5EF4-FFF2-40B4-BE49-F238E27FC236}">
                  <a16:creationId xmlns:a16="http://schemas.microsoft.com/office/drawing/2014/main" id="{3823CF28-F143-F5DF-0900-9AC7009BE137}"/>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B1C54F6-BA73-0EE7-6279-36BA1D7D30C2}"/>
                </a:ext>
              </a:extLst>
            </p:cNvPr>
            <p:cNvCxnSpPr/>
            <p:nvPr/>
          </p:nvCxnSpPr>
          <p:spPr>
            <a:xfrm flipV="1">
              <a:off x="10224431" y="4495521"/>
              <a:ext cx="0" cy="473751"/>
            </a:xfrm>
            <a:prstGeom prst="line">
              <a:avLst/>
            </a:prstGeom>
            <a:ln w="1238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626E63C-C321-5D4E-9790-A1D428E86AE3}"/>
              </a:ext>
            </a:extLst>
          </p:cNvPr>
          <p:cNvGrpSpPr/>
          <p:nvPr/>
        </p:nvGrpSpPr>
        <p:grpSpPr>
          <a:xfrm>
            <a:off x="5431583" y="3440040"/>
            <a:ext cx="0" cy="521126"/>
            <a:chOff x="10224431" y="4471834"/>
            <a:chExt cx="0" cy="521126"/>
          </a:xfrm>
        </p:grpSpPr>
        <p:cxnSp>
          <p:nvCxnSpPr>
            <p:cNvPr id="44" name="Straight Connector 43">
              <a:extLst>
                <a:ext uri="{FF2B5EF4-FFF2-40B4-BE49-F238E27FC236}">
                  <a16:creationId xmlns:a16="http://schemas.microsoft.com/office/drawing/2014/main" id="{8308B50C-5C2B-6F42-98CA-894B681DE642}"/>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D084372-0D6C-D9F5-84D3-A602C18C0CD3}"/>
                </a:ext>
              </a:extLst>
            </p:cNvPr>
            <p:cNvCxnSpPr/>
            <p:nvPr/>
          </p:nvCxnSpPr>
          <p:spPr>
            <a:xfrm flipV="1">
              <a:off x="10224431" y="4495521"/>
              <a:ext cx="0" cy="473751"/>
            </a:xfrm>
            <a:prstGeom prst="line">
              <a:avLst/>
            </a:prstGeom>
            <a:ln w="123825" cap="rnd">
              <a:solidFill>
                <a:srgbClr val="1A5BA7"/>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A052A568-F4F3-40E3-CC76-482F0A20D859}"/>
              </a:ext>
            </a:extLst>
          </p:cNvPr>
          <p:cNvGrpSpPr/>
          <p:nvPr/>
        </p:nvGrpSpPr>
        <p:grpSpPr>
          <a:xfrm>
            <a:off x="7284953" y="3440040"/>
            <a:ext cx="0" cy="521126"/>
            <a:chOff x="10224431" y="4471834"/>
            <a:chExt cx="0" cy="521126"/>
          </a:xfrm>
        </p:grpSpPr>
        <p:cxnSp>
          <p:nvCxnSpPr>
            <p:cNvPr id="48" name="Straight Connector 47">
              <a:extLst>
                <a:ext uri="{FF2B5EF4-FFF2-40B4-BE49-F238E27FC236}">
                  <a16:creationId xmlns:a16="http://schemas.microsoft.com/office/drawing/2014/main" id="{A4788F07-664E-0B98-3826-F93D0CD098BE}"/>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A08C454-169B-2D1E-14A3-8DA7D246CB34}"/>
                </a:ext>
              </a:extLst>
            </p:cNvPr>
            <p:cNvCxnSpPr/>
            <p:nvPr/>
          </p:nvCxnSpPr>
          <p:spPr>
            <a:xfrm flipV="1">
              <a:off x="10224431" y="4495521"/>
              <a:ext cx="0" cy="473751"/>
            </a:xfrm>
            <a:prstGeom prst="line">
              <a:avLst/>
            </a:prstGeom>
            <a:ln w="1238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C8E8344D-B2F5-73A9-9420-B19C0A9E4B42}"/>
              </a:ext>
            </a:extLst>
          </p:cNvPr>
          <p:cNvGrpSpPr/>
          <p:nvPr/>
        </p:nvGrpSpPr>
        <p:grpSpPr>
          <a:xfrm>
            <a:off x="9138323" y="3440040"/>
            <a:ext cx="0" cy="521126"/>
            <a:chOff x="10224431" y="4471834"/>
            <a:chExt cx="0" cy="521126"/>
          </a:xfrm>
        </p:grpSpPr>
        <p:cxnSp>
          <p:nvCxnSpPr>
            <p:cNvPr id="51" name="Straight Connector 50">
              <a:extLst>
                <a:ext uri="{FF2B5EF4-FFF2-40B4-BE49-F238E27FC236}">
                  <a16:creationId xmlns:a16="http://schemas.microsoft.com/office/drawing/2014/main" id="{B964FA92-F015-E9AD-FFE6-994ED765CB1F}"/>
                </a:ext>
              </a:extLst>
            </p:cNvPr>
            <p:cNvCxnSpPr/>
            <p:nvPr/>
          </p:nvCxnSpPr>
          <p:spPr>
            <a:xfrm flipV="1">
              <a:off x="10224431" y="4471834"/>
              <a:ext cx="0" cy="521126"/>
            </a:xfrm>
            <a:prstGeom prst="line">
              <a:avLst/>
            </a:prstGeom>
            <a:ln w="254000"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85C227B-567B-DF8B-DD34-4589046963D2}"/>
                </a:ext>
              </a:extLst>
            </p:cNvPr>
            <p:cNvCxnSpPr/>
            <p:nvPr/>
          </p:nvCxnSpPr>
          <p:spPr>
            <a:xfrm flipV="1">
              <a:off x="10224431" y="4495521"/>
              <a:ext cx="0" cy="473751"/>
            </a:xfrm>
            <a:prstGeom prst="line">
              <a:avLst/>
            </a:prstGeom>
            <a:ln w="123825" cap="rnd">
              <a:solidFill>
                <a:srgbClr val="00B050"/>
              </a:solidFill>
              <a:prstDash val="solid"/>
              <a:round/>
            </a:ln>
          </p:spPr>
          <p:style>
            <a:lnRef idx="1">
              <a:schemeClr val="accent1"/>
            </a:lnRef>
            <a:fillRef idx="0">
              <a:schemeClr val="accent1"/>
            </a:fillRef>
            <a:effectRef idx="0">
              <a:schemeClr val="accent1"/>
            </a:effectRef>
            <a:fontRef idx="minor">
              <a:schemeClr val="tx1"/>
            </a:fontRef>
          </p:style>
        </p:cxnSp>
      </p:grpSp>
      <p:sp>
        <p:nvSpPr>
          <p:cNvPr id="54" name="Rectangle 53">
            <a:extLst>
              <a:ext uri="{FF2B5EF4-FFF2-40B4-BE49-F238E27FC236}">
                <a16:creationId xmlns:a16="http://schemas.microsoft.com/office/drawing/2014/main" id="{2131FAF8-169E-CAEA-B696-54DBFFF9CF27}"/>
              </a:ext>
            </a:extLst>
          </p:cNvPr>
          <p:cNvSpPr/>
          <p:nvPr/>
        </p:nvSpPr>
        <p:spPr>
          <a:xfrm>
            <a:off x="8716911" y="4285014"/>
            <a:ext cx="2846435" cy="1571801"/>
          </a:xfrm>
          <a:prstGeom prst="rect">
            <a:avLst/>
          </a:prstGeom>
          <a:noFill/>
          <a:ln w="12700" cap="rnd" cmpd="sng" algn="ctr">
            <a:solidFill>
              <a:srgbClr val="9A9A9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r>
              <a:rPr lang="en-US" sz="1400" b="1">
                <a:solidFill>
                  <a:srgbClr val="575757"/>
                </a:solidFill>
              </a:rPr>
              <a:t>ULFW Determination  </a:t>
            </a:r>
          </a:p>
          <a:p>
            <a:pPr marL="171450" indent="-171450">
              <a:buFont typeface="Arial" panose="020B0604020202020204" pitchFamily="34" charset="0"/>
              <a:buChar char="•"/>
            </a:pPr>
            <a:r>
              <a:rPr lang="en-US" sz="1400">
                <a:solidFill>
                  <a:schemeClr val="tx1"/>
                </a:solidFill>
              </a:rPr>
              <a:t>Evaluate ULFW evidence </a:t>
            </a:r>
            <a:endParaRPr lang="en-US" sz="1400">
              <a:solidFill>
                <a:schemeClr val="tx1"/>
              </a:solidFill>
              <a:cs typeface="Arial"/>
            </a:endParaRPr>
          </a:p>
          <a:p>
            <a:pPr marL="171450" indent="-171450">
              <a:buFont typeface="Arial" panose="020B0604020202020204" pitchFamily="34" charset="0"/>
              <a:buChar char="•"/>
            </a:pPr>
            <a:r>
              <a:rPr lang="en-US" sz="1400">
                <a:solidFill>
                  <a:schemeClr val="tx1"/>
                </a:solidFill>
              </a:rPr>
              <a:t>Remove from alt-tech projects any locations sufficiently claimed by ULFW</a:t>
            </a:r>
          </a:p>
          <a:p>
            <a:endParaRPr lang="en-US" sz="1400">
              <a:solidFill>
                <a:schemeClr val="tx1"/>
              </a:solidFill>
              <a:cs typeface="Arial"/>
            </a:endParaRPr>
          </a:p>
        </p:txBody>
      </p:sp>
      <p:sp>
        <p:nvSpPr>
          <p:cNvPr id="10" name="Rectangle: Rounded Corners 9">
            <a:extLst>
              <a:ext uri="{FF2B5EF4-FFF2-40B4-BE49-F238E27FC236}">
                <a16:creationId xmlns:a16="http://schemas.microsoft.com/office/drawing/2014/main" id="{BB282055-03EB-87AE-4FF7-A53A83A46265}"/>
              </a:ext>
            </a:extLst>
          </p:cNvPr>
          <p:cNvSpPr/>
          <p:nvPr/>
        </p:nvSpPr>
        <p:spPr>
          <a:xfrm>
            <a:off x="2826323" y="5947117"/>
            <a:ext cx="8737022" cy="364540"/>
          </a:xfrm>
          <a:prstGeom prst="roundRect">
            <a:avLst/>
          </a:prstGeom>
          <a:solidFill>
            <a:srgbClr val="F2F2F2"/>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a:solidFill>
                  <a:srgbClr val="575757"/>
                </a:solidFill>
              </a:rPr>
              <a:t>Per NTIA guidance, before selecting alternative technology subgrantees, eligible entities must identify any </a:t>
            </a:r>
            <a:r>
              <a:rPr lang="en-US" sz="1100" err="1">
                <a:solidFill>
                  <a:srgbClr val="575757"/>
                </a:solidFill>
              </a:rPr>
              <a:t>BSLs</a:t>
            </a:r>
            <a:r>
              <a:rPr lang="en-US" sz="1100">
                <a:solidFill>
                  <a:srgbClr val="575757"/>
                </a:solidFill>
              </a:rPr>
              <a:t> in the project area already served by an </a:t>
            </a:r>
            <a:r>
              <a:rPr lang="en-US" sz="1100" err="1">
                <a:solidFill>
                  <a:srgbClr val="575757"/>
                </a:solidFill>
              </a:rPr>
              <a:t>ULFW</a:t>
            </a:r>
            <a:r>
              <a:rPr lang="en-US" sz="1100">
                <a:solidFill>
                  <a:srgbClr val="575757"/>
                </a:solidFill>
              </a:rPr>
              <a:t> provider that has the capacity to deliver service meeting the BEAD program's technical requirements</a:t>
            </a:r>
            <a:r>
              <a:rPr lang="en-US" sz="1100" baseline="30000">
                <a:solidFill>
                  <a:srgbClr val="575757"/>
                </a:solidFill>
              </a:rPr>
              <a:t>1</a:t>
            </a:r>
          </a:p>
        </p:txBody>
      </p:sp>
      <p:sp>
        <p:nvSpPr>
          <p:cNvPr id="11" name="ee4pFootnotes">
            <a:extLst>
              <a:ext uri="{FF2B5EF4-FFF2-40B4-BE49-F238E27FC236}">
                <a16:creationId xmlns:a16="http://schemas.microsoft.com/office/drawing/2014/main" id="{EC4A535C-CA1A-064A-D076-024F7F484905}"/>
              </a:ext>
            </a:extLst>
          </p:cNvPr>
          <p:cNvSpPr>
            <a:spLocks noChangeArrowheads="1"/>
          </p:cNvSpPr>
          <p:nvPr/>
        </p:nvSpPr>
        <p:spPr bwMode="auto">
          <a:xfrm>
            <a:off x="630000" y="6530203"/>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mj-lt"/>
                <a:cs typeface="Arial" pitchFamily="34" charset="0"/>
              </a:rPr>
              <a:t>1. BEAD Program: Alternative Broadband Technology Policy Notice</a:t>
            </a:r>
          </a:p>
        </p:txBody>
      </p:sp>
      <p:sp>
        <p:nvSpPr>
          <p:cNvPr id="16" name="Rectangle 15">
            <a:extLst>
              <a:ext uri="{FF2B5EF4-FFF2-40B4-BE49-F238E27FC236}">
                <a16:creationId xmlns:a16="http://schemas.microsoft.com/office/drawing/2014/main" id="{A60251B7-DCAC-3A55-A0A3-5B0D83902E67}"/>
              </a:ext>
            </a:extLst>
          </p:cNvPr>
          <p:cNvSpPr/>
          <p:nvPr/>
        </p:nvSpPr>
        <p:spPr>
          <a:xfrm rot="16200000">
            <a:off x="11180" y="2217409"/>
            <a:ext cx="1793340" cy="584917"/>
          </a:xfrm>
          <a:prstGeom prst="rect">
            <a:avLst/>
          </a:prstGeom>
          <a:solidFill>
            <a:schemeClr val="accent4">
              <a:lumMod val="20000"/>
              <a:lumOff val="80000"/>
            </a:scheme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a:solidFill>
                  <a:schemeClr val="tx2"/>
                </a:solidFill>
              </a:rPr>
              <a:t>Negotiation milestones </a:t>
            </a:r>
          </a:p>
        </p:txBody>
      </p:sp>
      <p:sp>
        <p:nvSpPr>
          <p:cNvPr id="23" name="Rectangle 22">
            <a:extLst>
              <a:ext uri="{FF2B5EF4-FFF2-40B4-BE49-F238E27FC236}">
                <a16:creationId xmlns:a16="http://schemas.microsoft.com/office/drawing/2014/main" id="{B4573551-EBC3-8E64-7158-CFF70B0947FE}"/>
              </a:ext>
            </a:extLst>
          </p:cNvPr>
          <p:cNvSpPr/>
          <p:nvPr/>
        </p:nvSpPr>
        <p:spPr>
          <a:xfrm rot="16200000">
            <a:off x="-23223" y="4633285"/>
            <a:ext cx="1862144" cy="584916"/>
          </a:xfrm>
          <a:prstGeom prst="rect">
            <a:avLst/>
          </a:prstGeom>
          <a:solidFill>
            <a:srgbClr val="F2F2F2"/>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err="1">
                <a:solidFill>
                  <a:srgbClr val="575757"/>
                </a:solidFill>
              </a:rPr>
              <a:t>ULFW</a:t>
            </a:r>
            <a:r>
              <a:rPr lang="en-US" sz="1600" b="1">
                <a:solidFill>
                  <a:srgbClr val="575757"/>
                </a:solidFill>
              </a:rPr>
              <a:t> Claims Process</a:t>
            </a:r>
          </a:p>
        </p:txBody>
      </p:sp>
      <p:grpSp>
        <p:nvGrpSpPr>
          <p:cNvPr id="5" name="Group 4">
            <a:extLst>
              <a:ext uri="{FF2B5EF4-FFF2-40B4-BE49-F238E27FC236}">
                <a16:creationId xmlns:a16="http://schemas.microsoft.com/office/drawing/2014/main" id="{67A20991-AC8E-518D-665A-3862A0E243AC}"/>
              </a:ext>
            </a:extLst>
          </p:cNvPr>
          <p:cNvGrpSpPr/>
          <p:nvPr/>
        </p:nvGrpSpPr>
        <p:grpSpPr>
          <a:xfrm>
            <a:off x="7408068" y="2140028"/>
            <a:ext cx="1046179" cy="518139"/>
            <a:chOff x="7444051" y="1917391"/>
            <a:chExt cx="1046179" cy="518139"/>
          </a:xfrm>
        </p:grpSpPr>
        <p:grpSp>
          <p:nvGrpSpPr>
            <p:cNvPr id="61" name="Group 60">
              <a:extLst>
                <a:ext uri="{FF2B5EF4-FFF2-40B4-BE49-F238E27FC236}">
                  <a16:creationId xmlns:a16="http://schemas.microsoft.com/office/drawing/2014/main" id="{5743C85D-1CBE-949B-1018-74E14AD3C4F3}"/>
                </a:ext>
              </a:extLst>
            </p:cNvPr>
            <p:cNvGrpSpPr>
              <a:grpSpLocks noChangeAspect="1"/>
            </p:cNvGrpSpPr>
            <p:nvPr/>
          </p:nvGrpSpPr>
          <p:grpSpPr>
            <a:xfrm>
              <a:off x="7836684" y="1917391"/>
              <a:ext cx="260912" cy="260912"/>
              <a:chOff x="982662" y="3463925"/>
              <a:chExt cx="269875" cy="269875"/>
            </a:xfrm>
          </p:grpSpPr>
          <p:sp>
            <p:nvSpPr>
              <p:cNvPr id="62" name="Oval 14">
                <a:extLst>
                  <a:ext uri="{FF2B5EF4-FFF2-40B4-BE49-F238E27FC236}">
                    <a16:creationId xmlns:a16="http://schemas.microsoft.com/office/drawing/2014/main" id="{E49AA0DE-F600-BC06-4687-A7B8CD86E381}"/>
                  </a:ext>
                </a:extLst>
              </p:cNvPr>
              <p:cNvSpPr>
                <a:spLocks noChangeArrowheads="1"/>
              </p:cNvSpPr>
              <p:nvPr/>
            </p:nvSpPr>
            <p:spPr bwMode="auto">
              <a:xfrm>
                <a:off x="982662" y="346392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63" name="Freeform 15">
                <a:extLst>
                  <a:ext uri="{FF2B5EF4-FFF2-40B4-BE49-F238E27FC236}">
                    <a16:creationId xmlns:a16="http://schemas.microsoft.com/office/drawing/2014/main" id="{AB771563-6AD2-429B-0A6B-C6ECFCF0578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64" name="Rectangle 63">
              <a:extLst>
                <a:ext uri="{FF2B5EF4-FFF2-40B4-BE49-F238E27FC236}">
                  <a16:creationId xmlns:a16="http://schemas.microsoft.com/office/drawing/2014/main" id="{C6382A49-C8FA-1CFD-E8DE-0094969C3FA8}"/>
                </a:ext>
              </a:extLst>
            </p:cNvPr>
            <p:cNvSpPr/>
            <p:nvPr/>
          </p:nvSpPr>
          <p:spPr>
            <a:xfrm>
              <a:off x="7444051" y="2232940"/>
              <a:ext cx="1046179" cy="2025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chemeClr val="tx2"/>
                  </a:solidFill>
                </a:rPr>
                <a:t>We are here</a:t>
              </a:r>
            </a:p>
          </p:txBody>
        </p:sp>
      </p:grpSp>
      <p:grpSp>
        <p:nvGrpSpPr>
          <p:cNvPr id="17" name="Group 16">
            <a:extLst>
              <a:ext uri="{FF2B5EF4-FFF2-40B4-BE49-F238E27FC236}">
                <a16:creationId xmlns:a16="http://schemas.microsoft.com/office/drawing/2014/main" id="{7C2429C3-ABBD-1946-DE8B-7F4818D8B3CD}"/>
              </a:ext>
            </a:extLst>
          </p:cNvPr>
          <p:cNvGrpSpPr>
            <a:grpSpLocks noChangeAspect="1"/>
          </p:cNvGrpSpPr>
          <p:nvPr/>
        </p:nvGrpSpPr>
        <p:grpSpPr>
          <a:xfrm>
            <a:off x="8716910" y="1243012"/>
            <a:ext cx="260912" cy="260912"/>
            <a:chOff x="982662" y="3463925"/>
            <a:chExt cx="269875" cy="269875"/>
          </a:xfrm>
        </p:grpSpPr>
        <p:sp>
          <p:nvSpPr>
            <p:cNvPr id="18" name="Oval 14">
              <a:extLst>
                <a:ext uri="{FF2B5EF4-FFF2-40B4-BE49-F238E27FC236}">
                  <a16:creationId xmlns:a16="http://schemas.microsoft.com/office/drawing/2014/main" id="{87CA717F-FEE4-F04F-6BD9-1A9001612321}"/>
                </a:ext>
              </a:extLst>
            </p:cNvPr>
            <p:cNvSpPr>
              <a:spLocks noChangeArrowheads="1"/>
            </p:cNvSpPr>
            <p:nvPr/>
          </p:nvSpPr>
          <p:spPr bwMode="auto">
            <a:xfrm>
              <a:off x="982662" y="3463925"/>
              <a:ext cx="269875" cy="269875"/>
            </a:xfrm>
            <a:prstGeom prst="ellipse">
              <a:avLst/>
            </a:prstGeom>
            <a:solidFill>
              <a:srgbClr val="00B05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9" name="Freeform 15">
              <a:extLst>
                <a:ext uri="{FF2B5EF4-FFF2-40B4-BE49-F238E27FC236}">
                  <a16:creationId xmlns:a16="http://schemas.microsoft.com/office/drawing/2014/main" id="{C1DA6CF5-B215-9F87-80E0-62F200AE511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0" name="Rectangle 19">
            <a:extLst>
              <a:ext uri="{FF2B5EF4-FFF2-40B4-BE49-F238E27FC236}">
                <a16:creationId xmlns:a16="http://schemas.microsoft.com/office/drawing/2014/main" id="{3A18A465-BF89-DD67-A230-3C9AE423EBB6}"/>
              </a:ext>
            </a:extLst>
          </p:cNvPr>
          <p:cNvSpPr/>
          <p:nvPr/>
        </p:nvSpPr>
        <p:spPr>
          <a:xfrm>
            <a:off x="8927714" y="1272173"/>
            <a:ext cx="1935476" cy="20259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i="1">
                <a:solidFill>
                  <a:srgbClr val="00B050"/>
                </a:solidFill>
              </a:rPr>
              <a:t>Focus of today's session</a:t>
            </a:r>
          </a:p>
        </p:txBody>
      </p:sp>
      <p:graphicFrame>
        <p:nvGraphicFramePr>
          <p:cNvPr id="3" name="think-cell data - do not delete" hidden="1">
            <a:extLst>
              <a:ext uri="{FF2B5EF4-FFF2-40B4-BE49-F238E27FC236}">
                <a16:creationId xmlns:a16="http://schemas.microsoft.com/office/drawing/2014/main" id="{6C2C6E5F-9406-3085-2036-306390375AFC}"/>
              </a:ext>
            </a:extLst>
          </p:cNvPr>
          <p:cNvGraphicFramePr>
            <a:graphicFrameLocks noChangeAspect="1"/>
          </p:cNvGraphicFramePr>
          <p:nvPr>
            <p:custDataLst>
              <p:tags r:id="rId2"/>
            </p:custDataLst>
            <p:extLst>
              <p:ext uri="{D42A27DB-BD31-4B8C-83A1-F6EECF244321}">
                <p14:modId xmlns:p14="http://schemas.microsoft.com/office/powerpoint/2010/main" val="3723880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3" name="think-cell data - do not delete" hidden="1">
                        <a:extLst>
                          <a:ext uri="{FF2B5EF4-FFF2-40B4-BE49-F238E27FC236}">
                            <a16:creationId xmlns:a16="http://schemas.microsoft.com/office/drawing/2014/main" id="{6C2C6E5F-9406-3085-2036-306390375AF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42211CD9-03F7-A660-98BD-A55A353B8228}"/>
              </a:ext>
            </a:extLst>
          </p:cNvPr>
          <p:cNvGraphicFramePr>
            <a:graphicFrameLocks noChangeAspect="1"/>
          </p:cNvGraphicFramePr>
          <p:nvPr>
            <p:custDataLst>
              <p:tags r:id="rId3"/>
            </p:custDataLst>
            <p:extLst>
              <p:ext uri="{D42A27DB-BD31-4B8C-83A1-F6EECF244321}">
                <p14:modId xmlns:p14="http://schemas.microsoft.com/office/powerpoint/2010/main" val="325587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6" name="think-cell data - do not delete" hidden="1">
                        <a:extLst>
                          <a:ext uri="{FF2B5EF4-FFF2-40B4-BE49-F238E27FC236}">
                            <a16:creationId xmlns:a16="http://schemas.microsoft.com/office/drawing/2014/main" id="{42211CD9-03F7-A660-98BD-A55A353B822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14895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22C374-D2F2-9133-054E-AFFB3CF34FD8}"/>
            </a:ext>
          </a:extLst>
        </p:cNvPr>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6565D418-F58A-0834-3F98-C5AC8A6F53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1" imgH="472" progId="TCLayout.ActiveDocument.1">
                  <p:embed/>
                </p:oleObj>
              </mc:Choice>
              <mc:Fallback>
                <p:oleObj name="think-cell Slide" r:id="rId11" imgW="471" imgH="472" progId="TCLayout.ActiveDocument.1">
                  <p:embed/>
                  <p:pic>
                    <p:nvPicPr>
                      <p:cNvPr id="38" name="Object 37" hidden="1">
                        <a:extLst>
                          <a:ext uri="{FF2B5EF4-FFF2-40B4-BE49-F238E27FC236}">
                            <a16:creationId xmlns:a16="http://schemas.microsoft.com/office/drawing/2014/main" id="{6565D418-F58A-0834-3F98-C5AC8A6F533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714D0041-C2C8-46A7-02AB-370E0F9D0604}"/>
              </a:ext>
            </a:extLst>
          </p:cNvPr>
          <p:cNvGraphicFramePr>
            <a:graphicFrameLocks noGrp="1"/>
          </p:cNvGraphicFramePr>
          <p:nvPr>
            <p:extLst>
              <p:ext uri="{D42A27DB-BD31-4B8C-83A1-F6EECF244321}">
                <p14:modId xmlns:p14="http://schemas.microsoft.com/office/powerpoint/2010/main" val="846189102"/>
              </p:ext>
            </p:extLst>
          </p:nvPr>
        </p:nvGraphicFramePr>
        <p:xfrm>
          <a:off x="4570040" y="1973150"/>
          <a:ext cx="6991960" cy="2911700"/>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are the application submission rules for Tranche-3?</a:t>
                      </a: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25110860"/>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panose="020B0604020202020204" pitchFamily="34" charset="0"/>
                          <a:cs typeface="Arial" panose="020B0604020202020204" pitchFamily="34" charset="0"/>
                        </a:rPr>
                        <a:t>What </a:t>
                      </a:r>
                      <a:r>
                        <a:rPr lang="en-US" err="1">
                          <a:solidFill>
                            <a:srgbClr val="000000"/>
                          </a:solidFill>
                          <a:latin typeface="Arial" panose="020B0604020202020204" pitchFamily="34" charset="0"/>
                          <a:cs typeface="Arial" panose="020B0604020202020204" pitchFamily="34" charset="0"/>
                        </a:rPr>
                        <a:t>CBGs</a:t>
                      </a:r>
                      <a:r>
                        <a:rPr lang="en-US">
                          <a:solidFill>
                            <a:srgbClr val="000000"/>
                          </a:solidFill>
                          <a:latin typeface="Arial" panose="020B0604020202020204" pitchFamily="34" charset="0"/>
                          <a:cs typeface="Arial" panose="020B0604020202020204" pitchFamily="34" charset="0"/>
                        </a:rPr>
                        <a:t> are available for bidding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37428618"/>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How will applications be preliminarily selected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510883694"/>
                  </a:ext>
                </a:extLst>
              </a:tr>
              <a:tr h="727925">
                <a:tc>
                  <a:txBody>
                    <a:bodyPr/>
                    <a:lstStyle/>
                    <a:p>
                      <a:pPr marL="0" indent="0" algn="l" rtl="0" fontAlgn="auto" hangingPunct="1">
                        <a:lnSpc>
                          <a:spcPct val="100000"/>
                        </a:lnSpc>
                        <a:spcBef>
                          <a:spcPts val="0"/>
                        </a:spcBef>
                        <a:spcAft>
                          <a:spcPts val="0"/>
                        </a:spcAft>
                      </a:pPr>
                      <a:endParaRPr lang="en-US" sz="1400" b="0" i="0" u="none" dirty="0">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Resources and reminders</a:t>
                      </a: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7666917"/>
                  </a:ext>
                </a:extLst>
              </a:tr>
            </a:tbl>
          </a:graphicData>
        </a:graphic>
      </p:graphicFrame>
      <p:grpSp>
        <p:nvGrpSpPr>
          <p:cNvPr id="8" name="Group 7">
            <a:extLst>
              <a:ext uri="{FF2B5EF4-FFF2-40B4-BE49-F238E27FC236}">
                <a16:creationId xmlns:a16="http://schemas.microsoft.com/office/drawing/2014/main" id="{260820FF-2325-9A12-1D8B-5C4A50C85151}"/>
              </a:ext>
            </a:extLst>
          </p:cNvPr>
          <p:cNvGrpSpPr/>
          <p:nvPr/>
        </p:nvGrpSpPr>
        <p:grpSpPr>
          <a:xfrm>
            <a:off x="0" y="0"/>
            <a:ext cx="4116907" cy="6858000"/>
            <a:chOff x="0" y="0"/>
            <a:chExt cx="4116907" cy="6858000"/>
          </a:xfrm>
        </p:grpSpPr>
        <p:pic>
          <p:nvPicPr>
            <p:cNvPr id="5" name="Picture 4">
              <a:extLst>
                <a:ext uri="{FF2B5EF4-FFF2-40B4-BE49-F238E27FC236}">
                  <a16:creationId xmlns:a16="http://schemas.microsoft.com/office/drawing/2014/main" id="{9CB1992C-B7E6-ED64-C36F-53262D0E1F5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0" y="0"/>
              <a:ext cx="4116907" cy="6858000"/>
            </a:xfrm>
            <a:prstGeom prst="rect">
              <a:avLst/>
            </a:prstGeom>
          </p:spPr>
        </p:pic>
        <p:sp>
          <p:nvSpPr>
            <p:cNvPr id="3" name="Rectangle 2">
              <a:extLst>
                <a:ext uri="{FF2B5EF4-FFF2-40B4-BE49-F238E27FC236}">
                  <a16:creationId xmlns:a16="http://schemas.microsoft.com/office/drawing/2014/main" id="{1FC609C2-E31F-0947-5BAA-2286CB950AF3}"/>
                </a:ext>
              </a:extLst>
            </p:cNvPr>
            <p:cNvSpPr/>
            <p:nvPr/>
          </p:nvSpPr>
          <p:spPr>
            <a:xfrm>
              <a:off x="0" y="0"/>
              <a:ext cx="4116907" cy="6858000"/>
            </a:xfrm>
            <a:prstGeom prst="rect">
              <a:avLst/>
            </a:prstGeom>
            <a:gradFill>
              <a:gsLst>
                <a:gs pos="0">
                  <a:schemeClr val="accent4">
                    <a:alpha val="70000"/>
                  </a:schemeClr>
                </a:gs>
                <a:gs pos="100000">
                  <a:schemeClr val="tx2">
                    <a:alpha val="9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39" name="Title 38">
            <a:extLst>
              <a:ext uri="{FF2B5EF4-FFF2-40B4-BE49-F238E27FC236}">
                <a16:creationId xmlns:a16="http://schemas.microsoft.com/office/drawing/2014/main" id="{1F632DF3-A79F-3153-1D17-A9DEDD63D4E2}"/>
              </a:ext>
            </a:extLst>
          </p:cNvPr>
          <p:cNvSpPr>
            <a:spLocks noGrp="1"/>
          </p:cNvSpPr>
          <p:nvPr>
            <p:ph type="title"/>
          </p:nvPr>
        </p:nvSpPr>
        <p:spPr/>
        <p:txBody>
          <a:bodyPr vert="horz"/>
          <a:lstStyle/>
          <a:p>
            <a:r>
              <a:rPr lang="en-US" sz="4400"/>
              <a:t>Agenda</a:t>
            </a:r>
          </a:p>
        </p:txBody>
      </p:sp>
      <p:cxnSp>
        <p:nvCxnSpPr>
          <p:cNvPr id="7" name="Straight Connector 6">
            <a:extLst>
              <a:ext uri="{FF2B5EF4-FFF2-40B4-BE49-F238E27FC236}">
                <a16:creationId xmlns:a16="http://schemas.microsoft.com/office/drawing/2014/main" id="{08B784BB-2D11-6198-4F40-5EADD81A0318}"/>
              </a:ext>
            </a:extLst>
          </p:cNvPr>
          <p:cNvCxnSpPr/>
          <p:nvPr/>
        </p:nvCxnSpPr>
        <p:spPr>
          <a:xfrm>
            <a:off x="4880583" y="0"/>
            <a:ext cx="0" cy="685800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931085C-DAA2-BCB0-E266-130CD89B717D}"/>
              </a:ext>
            </a:extLst>
          </p:cNvPr>
          <p:cNvSpPr/>
          <p:nvPr/>
        </p:nvSpPr>
        <p:spPr>
          <a:xfrm>
            <a:off x="1" y="0"/>
            <a:ext cx="4114800" cy="6858000"/>
          </a:xfrm>
          <a:prstGeom prst="rect">
            <a:avLst/>
          </a:prstGeom>
          <a:solidFill>
            <a:srgbClr val="1A5BA7"/>
          </a:solidFill>
          <a:ln>
            <a:solidFill>
              <a:srgbClr val="2459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atin typeface="Arial "/>
              </a:rPr>
              <a:t>Agenda</a:t>
            </a:r>
            <a:endParaRPr lang="en-US" sz="4000" dirty="0">
              <a:latin typeface="Arial "/>
              <a:cs typeface="Arial" panose="020B0604020202020204" pitchFamily="34" charset="0"/>
            </a:endParaRPr>
          </a:p>
        </p:txBody>
      </p:sp>
      <p:graphicFrame>
        <p:nvGraphicFramePr>
          <p:cNvPr id="6" name="think-cell data - do not delete" hidden="1">
            <a:extLst>
              <a:ext uri="{FF2B5EF4-FFF2-40B4-BE49-F238E27FC236}">
                <a16:creationId xmlns:a16="http://schemas.microsoft.com/office/drawing/2014/main" id="{F2BD951A-44C9-304E-1A7A-58D2E9A1FF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6" name="think-cell data - do not delete" hidden="1">
                        <a:extLst>
                          <a:ext uri="{FF2B5EF4-FFF2-40B4-BE49-F238E27FC236}">
                            <a16:creationId xmlns:a16="http://schemas.microsoft.com/office/drawing/2014/main" id="{F2BD951A-44C9-304E-1A7A-58D2E9A1FFF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6" name="think-cell data - do not delete" hidden="1">
            <a:extLst>
              <a:ext uri="{FF2B5EF4-FFF2-40B4-BE49-F238E27FC236}">
                <a16:creationId xmlns:a16="http://schemas.microsoft.com/office/drawing/2014/main" id="{AC59EBB0-F238-CD27-1A8A-3AEB88C7AB12}"/>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6" name="think-cell data - do not delete" hidden="1">
                        <a:extLst>
                          <a:ext uri="{FF2B5EF4-FFF2-40B4-BE49-F238E27FC236}">
                            <a16:creationId xmlns:a16="http://schemas.microsoft.com/office/drawing/2014/main" id="{AC59EBB0-F238-CD27-1A8A-3AEB88C7AB12}"/>
                          </a:ext>
                        </a:extLst>
                      </p:cNvPr>
                      <p:cNvPicPr/>
                      <p:nvPr/>
                    </p:nvPicPr>
                    <p:blipFill>
                      <a:blip r:embed="rId15"/>
                      <a:stretch>
                        <a:fillRect/>
                      </a:stretch>
                    </p:blipFill>
                    <p:spPr>
                      <a:xfrm>
                        <a:off x="153988" y="153988"/>
                        <a:ext cx="1588" cy="1588"/>
                      </a:xfrm>
                      <a:prstGeom prst="rect">
                        <a:avLst/>
                      </a:prstGeom>
                    </p:spPr>
                  </p:pic>
                </p:oleObj>
              </mc:Fallback>
            </mc:AlternateContent>
          </a:graphicData>
        </a:graphic>
      </p:graphicFrame>
      <p:graphicFrame>
        <p:nvGraphicFramePr>
          <p:cNvPr id="18" name="think-cell data - do not delete" hidden="1">
            <a:extLst>
              <a:ext uri="{FF2B5EF4-FFF2-40B4-BE49-F238E27FC236}">
                <a16:creationId xmlns:a16="http://schemas.microsoft.com/office/drawing/2014/main" id="{DBBF636F-6108-4C71-A1AC-C670B35144FD}"/>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8" name="think-cell data - do not delete" hidden="1">
                        <a:extLst>
                          <a:ext uri="{FF2B5EF4-FFF2-40B4-BE49-F238E27FC236}">
                            <a16:creationId xmlns:a16="http://schemas.microsoft.com/office/drawing/2014/main" id="{DBBF636F-6108-4C71-A1AC-C670B35144FD}"/>
                          </a:ext>
                        </a:extLst>
                      </p:cNvPr>
                      <p:cNvPicPr/>
                      <p:nvPr/>
                    </p:nvPicPr>
                    <p:blipFill>
                      <a:blip r:embed="rId15"/>
                      <a:stretch>
                        <a:fillRect/>
                      </a:stretch>
                    </p:blipFill>
                    <p:spPr>
                      <a:xfrm>
                        <a:off x="306388" y="306388"/>
                        <a:ext cx="1588" cy="1588"/>
                      </a:xfrm>
                      <a:prstGeom prst="rect">
                        <a:avLst/>
                      </a:prstGeom>
                    </p:spPr>
                  </p:pic>
                </p:oleObj>
              </mc:Fallback>
            </mc:AlternateContent>
          </a:graphicData>
        </a:graphic>
      </p:graphicFrame>
      <p:graphicFrame>
        <p:nvGraphicFramePr>
          <p:cNvPr id="23" name="think-cell data - do not delete" hidden="1">
            <a:extLst>
              <a:ext uri="{FF2B5EF4-FFF2-40B4-BE49-F238E27FC236}">
                <a16:creationId xmlns:a16="http://schemas.microsoft.com/office/drawing/2014/main" id="{A8A4F277-00E6-B698-7CEC-C68A04DDA3D8}"/>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3" name="think-cell data - do not delete" hidden="1">
                        <a:extLst>
                          <a:ext uri="{FF2B5EF4-FFF2-40B4-BE49-F238E27FC236}">
                            <a16:creationId xmlns:a16="http://schemas.microsoft.com/office/drawing/2014/main" id="{A8A4F277-00E6-B698-7CEC-C68A04DDA3D8}"/>
                          </a:ext>
                        </a:extLst>
                      </p:cNvPr>
                      <p:cNvPicPr/>
                      <p:nvPr/>
                    </p:nvPicPr>
                    <p:blipFill>
                      <a:blip r:embed="rId15"/>
                      <a:stretch>
                        <a:fillRect/>
                      </a:stretch>
                    </p:blipFill>
                    <p:spPr>
                      <a:xfrm>
                        <a:off x="458788" y="458788"/>
                        <a:ext cx="1588" cy="1588"/>
                      </a:xfrm>
                      <a:prstGeom prst="rect">
                        <a:avLst/>
                      </a:prstGeom>
                    </p:spPr>
                  </p:pic>
                </p:oleObj>
              </mc:Fallback>
            </mc:AlternateContent>
          </a:graphicData>
        </a:graphic>
      </p:graphicFrame>
      <p:graphicFrame>
        <p:nvGraphicFramePr>
          <p:cNvPr id="25" name="think-cell data - do not delete" hidden="1">
            <a:extLst>
              <a:ext uri="{FF2B5EF4-FFF2-40B4-BE49-F238E27FC236}">
                <a16:creationId xmlns:a16="http://schemas.microsoft.com/office/drawing/2014/main" id="{3E5156B9-D503-C6CE-868D-1FE458875528}"/>
              </a:ext>
            </a:extLst>
          </p:cNvPr>
          <p:cNvGraphicFramePr>
            <a:graphicFrameLocks noChangeAspect="1"/>
          </p:cNvGraphicFramePr>
          <p:nvPr>
            <p:custDataLst>
              <p:tags r:id="rId6"/>
            </p:custDataLst>
          </p:nvPr>
        </p:nvGraphicFramePr>
        <p:xfrm>
          <a:off x="611188" y="6111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5" name="think-cell data - do not delete" hidden="1">
                        <a:extLst>
                          <a:ext uri="{FF2B5EF4-FFF2-40B4-BE49-F238E27FC236}">
                            <a16:creationId xmlns:a16="http://schemas.microsoft.com/office/drawing/2014/main" id="{3E5156B9-D503-C6CE-868D-1FE458875528}"/>
                          </a:ext>
                        </a:extLst>
                      </p:cNvPr>
                      <p:cNvPicPr/>
                      <p:nvPr/>
                    </p:nvPicPr>
                    <p:blipFill>
                      <a:blip r:embed="rId15"/>
                      <a:stretch>
                        <a:fillRect/>
                      </a:stretch>
                    </p:blipFill>
                    <p:spPr>
                      <a:xfrm>
                        <a:off x="611188" y="611188"/>
                        <a:ext cx="1588" cy="1588"/>
                      </a:xfrm>
                      <a:prstGeom prst="rect">
                        <a:avLst/>
                      </a:prstGeom>
                    </p:spPr>
                  </p:pic>
                </p:oleObj>
              </mc:Fallback>
            </mc:AlternateContent>
          </a:graphicData>
        </a:graphic>
      </p:graphicFrame>
      <p:sp>
        <p:nvSpPr>
          <p:cNvPr id="26" name="Oval 20">
            <a:extLst>
              <a:ext uri="{FF2B5EF4-FFF2-40B4-BE49-F238E27FC236}">
                <a16:creationId xmlns:a16="http://schemas.microsoft.com/office/drawing/2014/main" id="{24C72E6D-AA68-754A-6641-CA84E9186257}"/>
              </a:ext>
            </a:extLst>
          </p:cNvPr>
          <p:cNvSpPr>
            <a:spLocks noChangeAspect="1" noChangeArrowheads="1"/>
          </p:cNvSpPr>
          <p:nvPr/>
        </p:nvSpPr>
        <p:spPr bwMode="auto">
          <a:xfrm>
            <a:off x="4673724" y="359531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3</a:t>
            </a:r>
          </a:p>
        </p:txBody>
      </p:sp>
      <p:graphicFrame>
        <p:nvGraphicFramePr>
          <p:cNvPr id="27" name="think-cell data - do not delete" hidden="1">
            <a:extLst>
              <a:ext uri="{FF2B5EF4-FFF2-40B4-BE49-F238E27FC236}">
                <a16:creationId xmlns:a16="http://schemas.microsoft.com/office/drawing/2014/main" id="{B0493F61-4A17-A9AE-94BA-FBA95592588A}"/>
              </a:ext>
            </a:extLst>
          </p:cNvPr>
          <p:cNvGraphicFramePr>
            <a:graphicFrameLocks noChangeAspect="1"/>
          </p:cNvGraphicFramePr>
          <p:nvPr>
            <p:custDataLst>
              <p:tags r:id="rId7"/>
            </p:custDataLst>
          </p:nvPr>
        </p:nvGraphicFramePr>
        <p:xfrm>
          <a:off x="763588" y="763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7" name="think-cell data - do not delete" hidden="1">
                        <a:extLst>
                          <a:ext uri="{FF2B5EF4-FFF2-40B4-BE49-F238E27FC236}">
                            <a16:creationId xmlns:a16="http://schemas.microsoft.com/office/drawing/2014/main" id="{B0493F61-4A17-A9AE-94BA-FBA95592588A}"/>
                          </a:ext>
                        </a:extLst>
                      </p:cNvPr>
                      <p:cNvPicPr/>
                      <p:nvPr/>
                    </p:nvPicPr>
                    <p:blipFill>
                      <a:blip r:embed="rId15"/>
                      <a:stretch>
                        <a:fillRect/>
                      </a:stretch>
                    </p:blipFill>
                    <p:spPr>
                      <a:xfrm>
                        <a:off x="763588" y="763588"/>
                        <a:ext cx="1588" cy="1588"/>
                      </a:xfrm>
                      <a:prstGeom prst="rect">
                        <a:avLst/>
                      </a:prstGeom>
                    </p:spPr>
                  </p:pic>
                </p:oleObj>
              </mc:Fallback>
            </mc:AlternateContent>
          </a:graphicData>
        </a:graphic>
      </p:graphicFrame>
      <p:sp>
        <p:nvSpPr>
          <p:cNvPr id="29" name="Oval 20">
            <a:extLst>
              <a:ext uri="{FF2B5EF4-FFF2-40B4-BE49-F238E27FC236}">
                <a16:creationId xmlns:a16="http://schemas.microsoft.com/office/drawing/2014/main" id="{183A2AFF-0745-F3D0-CD42-ED0019D0A187}"/>
              </a:ext>
            </a:extLst>
          </p:cNvPr>
          <p:cNvSpPr>
            <a:spLocks noChangeAspect="1" noChangeArrowheads="1"/>
          </p:cNvSpPr>
          <p:nvPr/>
        </p:nvSpPr>
        <p:spPr bwMode="auto">
          <a:xfrm>
            <a:off x="4673724" y="286739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2</a:t>
            </a:r>
          </a:p>
        </p:txBody>
      </p:sp>
      <p:graphicFrame>
        <p:nvGraphicFramePr>
          <p:cNvPr id="30" name="think-cell data - do not delete" hidden="1">
            <a:extLst>
              <a:ext uri="{FF2B5EF4-FFF2-40B4-BE49-F238E27FC236}">
                <a16:creationId xmlns:a16="http://schemas.microsoft.com/office/drawing/2014/main" id="{4100BF96-4988-8B8E-5005-0B5261F1459C}"/>
              </a:ext>
            </a:extLst>
          </p:cNvPr>
          <p:cNvGraphicFramePr>
            <a:graphicFrameLocks noChangeAspect="1"/>
          </p:cNvGraphicFramePr>
          <p:nvPr>
            <p:custDataLst>
              <p:tags r:id="rId8"/>
            </p:custDataLst>
          </p:nvPr>
        </p:nvGraphicFramePr>
        <p:xfrm>
          <a:off x="915988" y="915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30" name="think-cell data - do not delete" hidden="1">
                        <a:extLst>
                          <a:ext uri="{FF2B5EF4-FFF2-40B4-BE49-F238E27FC236}">
                            <a16:creationId xmlns:a16="http://schemas.microsoft.com/office/drawing/2014/main" id="{4100BF96-4988-8B8E-5005-0B5261F1459C}"/>
                          </a:ext>
                        </a:extLst>
                      </p:cNvPr>
                      <p:cNvPicPr/>
                      <p:nvPr/>
                    </p:nvPicPr>
                    <p:blipFill>
                      <a:blip r:embed="rId15"/>
                      <a:stretch>
                        <a:fillRect/>
                      </a:stretch>
                    </p:blipFill>
                    <p:spPr>
                      <a:xfrm>
                        <a:off x="915988" y="915988"/>
                        <a:ext cx="1588" cy="1588"/>
                      </a:xfrm>
                      <a:prstGeom prst="rect">
                        <a:avLst/>
                      </a:prstGeom>
                    </p:spPr>
                  </p:pic>
                </p:oleObj>
              </mc:Fallback>
            </mc:AlternateContent>
          </a:graphicData>
        </a:graphic>
      </p:graphicFrame>
      <p:sp>
        <p:nvSpPr>
          <p:cNvPr id="31" name="Oval 20">
            <a:extLst>
              <a:ext uri="{FF2B5EF4-FFF2-40B4-BE49-F238E27FC236}">
                <a16:creationId xmlns:a16="http://schemas.microsoft.com/office/drawing/2014/main" id="{F42EB459-1742-602F-3D73-C42F1328E948}"/>
              </a:ext>
            </a:extLst>
          </p:cNvPr>
          <p:cNvSpPr>
            <a:spLocks noChangeAspect="1" noChangeArrowheads="1"/>
          </p:cNvSpPr>
          <p:nvPr/>
        </p:nvSpPr>
        <p:spPr bwMode="auto">
          <a:xfrm>
            <a:off x="4673724" y="213946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1</a:t>
            </a:r>
          </a:p>
        </p:txBody>
      </p:sp>
      <p:sp>
        <p:nvSpPr>
          <p:cNvPr id="4" name="Oval 20">
            <a:extLst>
              <a:ext uri="{FF2B5EF4-FFF2-40B4-BE49-F238E27FC236}">
                <a16:creationId xmlns:a16="http://schemas.microsoft.com/office/drawing/2014/main" id="{9EF795B4-0BE7-6F1F-F61D-1BE1E0DF61FE}"/>
              </a:ext>
            </a:extLst>
          </p:cNvPr>
          <p:cNvSpPr>
            <a:spLocks noChangeAspect="1" noChangeArrowheads="1"/>
          </p:cNvSpPr>
          <p:nvPr/>
        </p:nvSpPr>
        <p:spPr bwMode="auto">
          <a:xfrm>
            <a:off x="4673724" y="432324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4</a:t>
            </a:r>
          </a:p>
        </p:txBody>
      </p:sp>
    </p:spTree>
    <p:extLst>
      <p:ext uri="{BB962C8B-B14F-4D97-AF65-F5344CB8AC3E}">
        <p14:creationId xmlns:p14="http://schemas.microsoft.com/office/powerpoint/2010/main" val="1802010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B6A127-48D0-00CC-918F-21A9F93D1EFB}"/>
            </a:ext>
          </a:extLst>
        </p:cNvPr>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FCA1338F-A2E2-C885-0443-10BD3407B2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1" imgH="472" progId="TCLayout.ActiveDocument.1">
                  <p:embed/>
                </p:oleObj>
              </mc:Choice>
              <mc:Fallback>
                <p:oleObj name="think-cell Slide" r:id="rId11" imgW="471" imgH="472" progId="TCLayout.ActiveDocument.1">
                  <p:embed/>
                  <p:pic>
                    <p:nvPicPr>
                      <p:cNvPr id="38" name="Object 37" hidden="1">
                        <a:extLst>
                          <a:ext uri="{FF2B5EF4-FFF2-40B4-BE49-F238E27FC236}">
                            <a16:creationId xmlns:a16="http://schemas.microsoft.com/office/drawing/2014/main" id="{FCA1338F-A2E2-C885-0443-10BD3407B2B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783E4F7C-9829-ADD8-84C1-8B5EADFCBB23}"/>
              </a:ext>
            </a:extLst>
          </p:cNvPr>
          <p:cNvGraphicFramePr>
            <a:graphicFrameLocks noGrp="1"/>
          </p:cNvGraphicFramePr>
          <p:nvPr>
            <p:extLst>
              <p:ext uri="{D42A27DB-BD31-4B8C-83A1-F6EECF244321}">
                <p14:modId xmlns:p14="http://schemas.microsoft.com/office/powerpoint/2010/main" val="329133752"/>
              </p:ext>
            </p:extLst>
          </p:nvPr>
        </p:nvGraphicFramePr>
        <p:xfrm>
          <a:off x="4570040" y="1973150"/>
          <a:ext cx="6991960" cy="2911700"/>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at are the application submission rules for Tranche-3?</a:t>
                      </a: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25110860"/>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panose="020B0604020202020204" pitchFamily="34" charset="0"/>
                          <a:cs typeface="Arial" panose="020B0604020202020204" pitchFamily="34" charset="0"/>
                        </a:rPr>
                        <a:t>What </a:t>
                      </a:r>
                      <a:r>
                        <a:rPr lang="en-US" err="1">
                          <a:solidFill>
                            <a:srgbClr val="000000"/>
                          </a:solidFill>
                          <a:latin typeface="Arial" panose="020B0604020202020204" pitchFamily="34" charset="0"/>
                          <a:cs typeface="Arial" panose="020B0604020202020204" pitchFamily="34" charset="0"/>
                        </a:rPr>
                        <a:t>CBGs</a:t>
                      </a:r>
                      <a:r>
                        <a:rPr lang="en-US">
                          <a:solidFill>
                            <a:srgbClr val="000000"/>
                          </a:solidFill>
                          <a:latin typeface="Arial" panose="020B0604020202020204" pitchFamily="34" charset="0"/>
                          <a:cs typeface="Arial" panose="020B0604020202020204" pitchFamily="34" charset="0"/>
                        </a:rPr>
                        <a:t> are available for bidding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37428618"/>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How will applications be preliminarily selected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510883694"/>
                  </a:ext>
                </a:extLst>
              </a:tr>
              <a:tr h="727925">
                <a:tc>
                  <a:txBody>
                    <a:bodyPr/>
                    <a:lstStyle/>
                    <a:p>
                      <a:pPr marL="0" indent="0" algn="l" rtl="0" fontAlgn="auto" hangingPunct="1">
                        <a:lnSpc>
                          <a:spcPct val="100000"/>
                        </a:lnSpc>
                        <a:spcBef>
                          <a:spcPts val="0"/>
                        </a:spcBef>
                        <a:spcAft>
                          <a:spcPts val="0"/>
                        </a:spcAft>
                      </a:pPr>
                      <a:endParaRPr lang="en-US" sz="1400" b="0" i="0" u="none" dirty="0">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Resources and reminders</a:t>
                      </a: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7666917"/>
                  </a:ext>
                </a:extLst>
              </a:tr>
            </a:tbl>
          </a:graphicData>
        </a:graphic>
      </p:graphicFrame>
      <p:grpSp>
        <p:nvGrpSpPr>
          <p:cNvPr id="8" name="Group 7">
            <a:extLst>
              <a:ext uri="{FF2B5EF4-FFF2-40B4-BE49-F238E27FC236}">
                <a16:creationId xmlns:a16="http://schemas.microsoft.com/office/drawing/2014/main" id="{459218A2-6913-1C01-F4D2-E74FB08E4E43}"/>
              </a:ext>
            </a:extLst>
          </p:cNvPr>
          <p:cNvGrpSpPr/>
          <p:nvPr/>
        </p:nvGrpSpPr>
        <p:grpSpPr>
          <a:xfrm>
            <a:off x="0" y="0"/>
            <a:ext cx="4116907" cy="6858000"/>
            <a:chOff x="0" y="0"/>
            <a:chExt cx="4116907" cy="6858000"/>
          </a:xfrm>
        </p:grpSpPr>
        <p:pic>
          <p:nvPicPr>
            <p:cNvPr id="5" name="Picture 4">
              <a:extLst>
                <a:ext uri="{FF2B5EF4-FFF2-40B4-BE49-F238E27FC236}">
                  <a16:creationId xmlns:a16="http://schemas.microsoft.com/office/drawing/2014/main" id="{5EF1E9DF-C26C-A0A4-2CAC-1BE60B91202B}"/>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0" y="0"/>
              <a:ext cx="4116907" cy="6858000"/>
            </a:xfrm>
            <a:prstGeom prst="rect">
              <a:avLst/>
            </a:prstGeom>
          </p:spPr>
        </p:pic>
        <p:sp>
          <p:nvSpPr>
            <p:cNvPr id="3" name="Rectangle 2">
              <a:extLst>
                <a:ext uri="{FF2B5EF4-FFF2-40B4-BE49-F238E27FC236}">
                  <a16:creationId xmlns:a16="http://schemas.microsoft.com/office/drawing/2014/main" id="{788BB748-6F80-2EC3-5F03-292D72D42959}"/>
                </a:ext>
              </a:extLst>
            </p:cNvPr>
            <p:cNvSpPr/>
            <p:nvPr/>
          </p:nvSpPr>
          <p:spPr>
            <a:xfrm>
              <a:off x="0" y="0"/>
              <a:ext cx="4116907" cy="6858000"/>
            </a:xfrm>
            <a:prstGeom prst="rect">
              <a:avLst/>
            </a:prstGeom>
            <a:gradFill>
              <a:gsLst>
                <a:gs pos="0">
                  <a:schemeClr val="accent4">
                    <a:alpha val="70000"/>
                  </a:schemeClr>
                </a:gs>
                <a:gs pos="100000">
                  <a:schemeClr val="tx2">
                    <a:alpha val="9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39" name="Title 38">
            <a:extLst>
              <a:ext uri="{FF2B5EF4-FFF2-40B4-BE49-F238E27FC236}">
                <a16:creationId xmlns:a16="http://schemas.microsoft.com/office/drawing/2014/main" id="{37962A1E-2DDC-C6D3-4439-225959B84456}"/>
              </a:ext>
            </a:extLst>
          </p:cNvPr>
          <p:cNvSpPr>
            <a:spLocks noGrp="1"/>
          </p:cNvSpPr>
          <p:nvPr>
            <p:ph type="title"/>
          </p:nvPr>
        </p:nvSpPr>
        <p:spPr/>
        <p:txBody>
          <a:bodyPr vert="horz"/>
          <a:lstStyle/>
          <a:p>
            <a:r>
              <a:rPr lang="en-US" sz="4400"/>
              <a:t>Agenda</a:t>
            </a:r>
          </a:p>
        </p:txBody>
      </p:sp>
      <p:cxnSp>
        <p:nvCxnSpPr>
          <p:cNvPr id="7" name="Straight Connector 6">
            <a:extLst>
              <a:ext uri="{FF2B5EF4-FFF2-40B4-BE49-F238E27FC236}">
                <a16:creationId xmlns:a16="http://schemas.microsoft.com/office/drawing/2014/main" id="{7C66A13E-FB9F-4E3B-A862-998ACA6107C8}"/>
              </a:ext>
            </a:extLst>
          </p:cNvPr>
          <p:cNvCxnSpPr/>
          <p:nvPr/>
        </p:nvCxnSpPr>
        <p:spPr>
          <a:xfrm>
            <a:off x="4880583" y="0"/>
            <a:ext cx="0" cy="685800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6774F83-9279-5E3D-41C9-838F63ED45FF}"/>
              </a:ext>
            </a:extLst>
          </p:cNvPr>
          <p:cNvSpPr/>
          <p:nvPr/>
        </p:nvSpPr>
        <p:spPr>
          <a:xfrm>
            <a:off x="1" y="0"/>
            <a:ext cx="4114800" cy="6858000"/>
          </a:xfrm>
          <a:prstGeom prst="rect">
            <a:avLst/>
          </a:prstGeom>
          <a:solidFill>
            <a:srgbClr val="1A5BA7"/>
          </a:solidFill>
          <a:ln>
            <a:solidFill>
              <a:srgbClr val="2459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atin typeface="Arial "/>
              </a:rPr>
              <a:t>Agenda</a:t>
            </a:r>
            <a:endParaRPr lang="en-US" sz="4000" dirty="0">
              <a:latin typeface="Arial "/>
              <a:cs typeface="Arial" panose="020B0604020202020204" pitchFamily="34" charset="0"/>
            </a:endParaRPr>
          </a:p>
        </p:txBody>
      </p:sp>
      <p:graphicFrame>
        <p:nvGraphicFramePr>
          <p:cNvPr id="6" name="think-cell data - do not delete" hidden="1">
            <a:extLst>
              <a:ext uri="{FF2B5EF4-FFF2-40B4-BE49-F238E27FC236}">
                <a16:creationId xmlns:a16="http://schemas.microsoft.com/office/drawing/2014/main" id="{96AA8FC0-8D0D-674B-8DEB-712296B254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6" name="think-cell data - do not delete" hidden="1">
                        <a:extLst>
                          <a:ext uri="{FF2B5EF4-FFF2-40B4-BE49-F238E27FC236}">
                            <a16:creationId xmlns:a16="http://schemas.microsoft.com/office/drawing/2014/main" id="{96AA8FC0-8D0D-674B-8DEB-712296B2542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6" name="think-cell data - do not delete" hidden="1">
            <a:extLst>
              <a:ext uri="{FF2B5EF4-FFF2-40B4-BE49-F238E27FC236}">
                <a16:creationId xmlns:a16="http://schemas.microsoft.com/office/drawing/2014/main" id="{7C9AE25A-1A8A-AF96-A875-94117302D3B3}"/>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6" name="think-cell data - do not delete" hidden="1">
                        <a:extLst>
                          <a:ext uri="{FF2B5EF4-FFF2-40B4-BE49-F238E27FC236}">
                            <a16:creationId xmlns:a16="http://schemas.microsoft.com/office/drawing/2014/main" id="{7C9AE25A-1A8A-AF96-A875-94117302D3B3}"/>
                          </a:ext>
                        </a:extLst>
                      </p:cNvPr>
                      <p:cNvPicPr/>
                      <p:nvPr/>
                    </p:nvPicPr>
                    <p:blipFill>
                      <a:blip r:embed="rId15"/>
                      <a:stretch>
                        <a:fillRect/>
                      </a:stretch>
                    </p:blipFill>
                    <p:spPr>
                      <a:xfrm>
                        <a:off x="153988" y="153988"/>
                        <a:ext cx="1588" cy="1588"/>
                      </a:xfrm>
                      <a:prstGeom prst="rect">
                        <a:avLst/>
                      </a:prstGeom>
                    </p:spPr>
                  </p:pic>
                </p:oleObj>
              </mc:Fallback>
            </mc:AlternateContent>
          </a:graphicData>
        </a:graphic>
      </p:graphicFrame>
      <p:graphicFrame>
        <p:nvGraphicFramePr>
          <p:cNvPr id="18" name="think-cell data - do not delete" hidden="1">
            <a:extLst>
              <a:ext uri="{FF2B5EF4-FFF2-40B4-BE49-F238E27FC236}">
                <a16:creationId xmlns:a16="http://schemas.microsoft.com/office/drawing/2014/main" id="{0BB6CF56-FFEC-44AE-52BE-1B7C64F99821}"/>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8" name="think-cell data - do not delete" hidden="1">
                        <a:extLst>
                          <a:ext uri="{FF2B5EF4-FFF2-40B4-BE49-F238E27FC236}">
                            <a16:creationId xmlns:a16="http://schemas.microsoft.com/office/drawing/2014/main" id="{0BB6CF56-FFEC-44AE-52BE-1B7C64F99821}"/>
                          </a:ext>
                        </a:extLst>
                      </p:cNvPr>
                      <p:cNvPicPr/>
                      <p:nvPr/>
                    </p:nvPicPr>
                    <p:blipFill>
                      <a:blip r:embed="rId15"/>
                      <a:stretch>
                        <a:fillRect/>
                      </a:stretch>
                    </p:blipFill>
                    <p:spPr>
                      <a:xfrm>
                        <a:off x="306388" y="306388"/>
                        <a:ext cx="1588" cy="1588"/>
                      </a:xfrm>
                      <a:prstGeom prst="rect">
                        <a:avLst/>
                      </a:prstGeom>
                    </p:spPr>
                  </p:pic>
                </p:oleObj>
              </mc:Fallback>
            </mc:AlternateContent>
          </a:graphicData>
        </a:graphic>
      </p:graphicFrame>
      <p:graphicFrame>
        <p:nvGraphicFramePr>
          <p:cNvPr id="23" name="think-cell data - do not delete" hidden="1">
            <a:extLst>
              <a:ext uri="{FF2B5EF4-FFF2-40B4-BE49-F238E27FC236}">
                <a16:creationId xmlns:a16="http://schemas.microsoft.com/office/drawing/2014/main" id="{D1D44E79-8B05-DC3C-CDC7-CF8690E882E0}"/>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3" name="think-cell data - do not delete" hidden="1">
                        <a:extLst>
                          <a:ext uri="{FF2B5EF4-FFF2-40B4-BE49-F238E27FC236}">
                            <a16:creationId xmlns:a16="http://schemas.microsoft.com/office/drawing/2014/main" id="{D1D44E79-8B05-DC3C-CDC7-CF8690E882E0}"/>
                          </a:ext>
                        </a:extLst>
                      </p:cNvPr>
                      <p:cNvPicPr/>
                      <p:nvPr/>
                    </p:nvPicPr>
                    <p:blipFill>
                      <a:blip r:embed="rId15"/>
                      <a:stretch>
                        <a:fillRect/>
                      </a:stretch>
                    </p:blipFill>
                    <p:spPr>
                      <a:xfrm>
                        <a:off x="458788" y="458788"/>
                        <a:ext cx="1588" cy="1588"/>
                      </a:xfrm>
                      <a:prstGeom prst="rect">
                        <a:avLst/>
                      </a:prstGeom>
                    </p:spPr>
                  </p:pic>
                </p:oleObj>
              </mc:Fallback>
            </mc:AlternateContent>
          </a:graphicData>
        </a:graphic>
      </p:graphicFrame>
      <p:graphicFrame>
        <p:nvGraphicFramePr>
          <p:cNvPr id="25" name="think-cell data - do not delete" hidden="1">
            <a:extLst>
              <a:ext uri="{FF2B5EF4-FFF2-40B4-BE49-F238E27FC236}">
                <a16:creationId xmlns:a16="http://schemas.microsoft.com/office/drawing/2014/main" id="{6631259D-2E45-324D-8138-832E90940920}"/>
              </a:ext>
            </a:extLst>
          </p:cNvPr>
          <p:cNvGraphicFramePr>
            <a:graphicFrameLocks noChangeAspect="1"/>
          </p:cNvGraphicFramePr>
          <p:nvPr>
            <p:custDataLst>
              <p:tags r:id="rId6"/>
            </p:custDataLst>
          </p:nvPr>
        </p:nvGraphicFramePr>
        <p:xfrm>
          <a:off x="611188" y="6111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5" name="think-cell data - do not delete" hidden="1">
                        <a:extLst>
                          <a:ext uri="{FF2B5EF4-FFF2-40B4-BE49-F238E27FC236}">
                            <a16:creationId xmlns:a16="http://schemas.microsoft.com/office/drawing/2014/main" id="{6631259D-2E45-324D-8138-832E90940920}"/>
                          </a:ext>
                        </a:extLst>
                      </p:cNvPr>
                      <p:cNvPicPr/>
                      <p:nvPr/>
                    </p:nvPicPr>
                    <p:blipFill>
                      <a:blip r:embed="rId15"/>
                      <a:stretch>
                        <a:fillRect/>
                      </a:stretch>
                    </p:blipFill>
                    <p:spPr>
                      <a:xfrm>
                        <a:off x="611188" y="611188"/>
                        <a:ext cx="1588" cy="1588"/>
                      </a:xfrm>
                      <a:prstGeom prst="rect">
                        <a:avLst/>
                      </a:prstGeom>
                    </p:spPr>
                  </p:pic>
                </p:oleObj>
              </mc:Fallback>
            </mc:AlternateContent>
          </a:graphicData>
        </a:graphic>
      </p:graphicFrame>
      <p:sp>
        <p:nvSpPr>
          <p:cNvPr id="26" name="Oval 20">
            <a:extLst>
              <a:ext uri="{FF2B5EF4-FFF2-40B4-BE49-F238E27FC236}">
                <a16:creationId xmlns:a16="http://schemas.microsoft.com/office/drawing/2014/main" id="{6A4AFD58-4596-108E-DC8E-B8956FC440BF}"/>
              </a:ext>
            </a:extLst>
          </p:cNvPr>
          <p:cNvSpPr>
            <a:spLocks noChangeAspect="1" noChangeArrowheads="1"/>
          </p:cNvSpPr>
          <p:nvPr/>
        </p:nvSpPr>
        <p:spPr bwMode="auto">
          <a:xfrm>
            <a:off x="4673724" y="359531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3</a:t>
            </a:r>
          </a:p>
        </p:txBody>
      </p:sp>
      <p:graphicFrame>
        <p:nvGraphicFramePr>
          <p:cNvPr id="27" name="think-cell data - do not delete" hidden="1">
            <a:extLst>
              <a:ext uri="{FF2B5EF4-FFF2-40B4-BE49-F238E27FC236}">
                <a16:creationId xmlns:a16="http://schemas.microsoft.com/office/drawing/2014/main" id="{E5795CC9-D149-24F5-0103-E0317084206F}"/>
              </a:ext>
            </a:extLst>
          </p:cNvPr>
          <p:cNvGraphicFramePr>
            <a:graphicFrameLocks noChangeAspect="1"/>
          </p:cNvGraphicFramePr>
          <p:nvPr>
            <p:custDataLst>
              <p:tags r:id="rId7"/>
            </p:custDataLst>
          </p:nvPr>
        </p:nvGraphicFramePr>
        <p:xfrm>
          <a:off x="763588" y="763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7" name="think-cell data - do not delete" hidden="1">
                        <a:extLst>
                          <a:ext uri="{FF2B5EF4-FFF2-40B4-BE49-F238E27FC236}">
                            <a16:creationId xmlns:a16="http://schemas.microsoft.com/office/drawing/2014/main" id="{E5795CC9-D149-24F5-0103-E0317084206F}"/>
                          </a:ext>
                        </a:extLst>
                      </p:cNvPr>
                      <p:cNvPicPr/>
                      <p:nvPr/>
                    </p:nvPicPr>
                    <p:blipFill>
                      <a:blip r:embed="rId15"/>
                      <a:stretch>
                        <a:fillRect/>
                      </a:stretch>
                    </p:blipFill>
                    <p:spPr>
                      <a:xfrm>
                        <a:off x="763588" y="763588"/>
                        <a:ext cx="1588" cy="1588"/>
                      </a:xfrm>
                      <a:prstGeom prst="rect">
                        <a:avLst/>
                      </a:prstGeom>
                    </p:spPr>
                  </p:pic>
                </p:oleObj>
              </mc:Fallback>
            </mc:AlternateContent>
          </a:graphicData>
        </a:graphic>
      </p:graphicFrame>
      <p:sp>
        <p:nvSpPr>
          <p:cNvPr id="29" name="Oval 20">
            <a:extLst>
              <a:ext uri="{FF2B5EF4-FFF2-40B4-BE49-F238E27FC236}">
                <a16:creationId xmlns:a16="http://schemas.microsoft.com/office/drawing/2014/main" id="{A91B5DEF-3F68-3B0D-EBF2-8D5E33B6550D}"/>
              </a:ext>
            </a:extLst>
          </p:cNvPr>
          <p:cNvSpPr>
            <a:spLocks noChangeAspect="1" noChangeArrowheads="1"/>
          </p:cNvSpPr>
          <p:nvPr/>
        </p:nvSpPr>
        <p:spPr bwMode="auto">
          <a:xfrm>
            <a:off x="4673724" y="286739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2</a:t>
            </a:r>
          </a:p>
        </p:txBody>
      </p:sp>
      <p:graphicFrame>
        <p:nvGraphicFramePr>
          <p:cNvPr id="30" name="think-cell data - do not delete" hidden="1">
            <a:extLst>
              <a:ext uri="{FF2B5EF4-FFF2-40B4-BE49-F238E27FC236}">
                <a16:creationId xmlns:a16="http://schemas.microsoft.com/office/drawing/2014/main" id="{58CD092B-F175-0191-20CE-10F2538ED3D2}"/>
              </a:ext>
            </a:extLst>
          </p:cNvPr>
          <p:cNvGraphicFramePr>
            <a:graphicFrameLocks noChangeAspect="1"/>
          </p:cNvGraphicFramePr>
          <p:nvPr>
            <p:custDataLst>
              <p:tags r:id="rId8"/>
            </p:custDataLst>
          </p:nvPr>
        </p:nvGraphicFramePr>
        <p:xfrm>
          <a:off x="915988" y="915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30" name="think-cell data - do not delete" hidden="1">
                        <a:extLst>
                          <a:ext uri="{FF2B5EF4-FFF2-40B4-BE49-F238E27FC236}">
                            <a16:creationId xmlns:a16="http://schemas.microsoft.com/office/drawing/2014/main" id="{58CD092B-F175-0191-20CE-10F2538ED3D2}"/>
                          </a:ext>
                        </a:extLst>
                      </p:cNvPr>
                      <p:cNvPicPr/>
                      <p:nvPr/>
                    </p:nvPicPr>
                    <p:blipFill>
                      <a:blip r:embed="rId15"/>
                      <a:stretch>
                        <a:fillRect/>
                      </a:stretch>
                    </p:blipFill>
                    <p:spPr>
                      <a:xfrm>
                        <a:off x="915988" y="915988"/>
                        <a:ext cx="1588" cy="1588"/>
                      </a:xfrm>
                      <a:prstGeom prst="rect">
                        <a:avLst/>
                      </a:prstGeom>
                    </p:spPr>
                  </p:pic>
                </p:oleObj>
              </mc:Fallback>
            </mc:AlternateContent>
          </a:graphicData>
        </a:graphic>
      </p:graphicFrame>
      <p:sp>
        <p:nvSpPr>
          <p:cNvPr id="31" name="Oval 20">
            <a:extLst>
              <a:ext uri="{FF2B5EF4-FFF2-40B4-BE49-F238E27FC236}">
                <a16:creationId xmlns:a16="http://schemas.microsoft.com/office/drawing/2014/main" id="{673EDF7F-DDE0-4FF0-77C1-D3BA58CC5446}"/>
              </a:ext>
            </a:extLst>
          </p:cNvPr>
          <p:cNvSpPr>
            <a:spLocks noChangeAspect="1" noChangeArrowheads="1"/>
          </p:cNvSpPr>
          <p:nvPr/>
        </p:nvSpPr>
        <p:spPr bwMode="auto">
          <a:xfrm>
            <a:off x="4673724" y="213946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1</a:t>
            </a:r>
          </a:p>
        </p:txBody>
      </p:sp>
      <p:sp>
        <p:nvSpPr>
          <p:cNvPr id="4" name="Oval 20">
            <a:extLst>
              <a:ext uri="{FF2B5EF4-FFF2-40B4-BE49-F238E27FC236}">
                <a16:creationId xmlns:a16="http://schemas.microsoft.com/office/drawing/2014/main" id="{B33F588A-38C2-0A3A-6513-E31D87CD6106}"/>
              </a:ext>
            </a:extLst>
          </p:cNvPr>
          <p:cNvSpPr>
            <a:spLocks noChangeAspect="1" noChangeArrowheads="1"/>
          </p:cNvSpPr>
          <p:nvPr/>
        </p:nvSpPr>
        <p:spPr bwMode="auto">
          <a:xfrm>
            <a:off x="4673724" y="432324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4</a:t>
            </a:r>
          </a:p>
        </p:txBody>
      </p:sp>
    </p:spTree>
    <p:extLst>
      <p:ext uri="{BB962C8B-B14F-4D97-AF65-F5344CB8AC3E}">
        <p14:creationId xmlns:p14="http://schemas.microsoft.com/office/powerpoint/2010/main" val="26576533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A2502A-0879-9B0C-5745-D07892A5E517}"/>
              </a:ext>
            </a:extLst>
          </p:cNvPr>
          <p:cNvGraphicFramePr>
            <a:graphicFrameLocks noChangeAspect="1"/>
          </p:cNvGraphicFramePr>
          <p:nvPr>
            <p:custDataLst>
              <p:tags r:id="rId1"/>
            </p:custDataLst>
            <p:extLst>
              <p:ext uri="{D42A27DB-BD31-4B8C-83A1-F6EECF244321}">
                <p14:modId xmlns:p14="http://schemas.microsoft.com/office/powerpoint/2010/main" val="186515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00A2502A-0879-9B0C-5745-D07892A5E5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nip Single Corner Rectangle 20">
            <a:extLst>
              <a:ext uri="{FF2B5EF4-FFF2-40B4-BE49-F238E27FC236}">
                <a16:creationId xmlns:a16="http://schemas.microsoft.com/office/drawing/2014/main" id="{0AD3A10D-E2FB-44ED-B17E-23A42C8A6287}"/>
              </a:ext>
            </a:extLst>
          </p:cNvPr>
          <p:cNvSpPr/>
          <p:nvPr/>
        </p:nvSpPr>
        <p:spPr>
          <a:xfrm>
            <a:off x="629399" y="1357514"/>
            <a:ext cx="5152275" cy="450538"/>
          </a:xfrm>
          <a:prstGeom prst="snip1Rect">
            <a:avLst>
              <a:gd name="adj" fmla="val 22967"/>
            </a:avLst>
          </a:prstGeom>
          <a:gradFill>
            <a:gsLst>
              <a:gs pos="0">
                <a:schemeClr val="tx2"/>
              </a:gs>
              <a:gs pos="100000">
                <a:schemeClr val="accent1"/>
              </a:gs>
            </a:gsLst>
            <a:lin ang="2700000" scaled="1"/>
          </a:gra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Snip Single Corner Rectangle 20">
            <a:extLst>
              <a:ext uri="{FF2B5EF4-FFF2-40B4-BE49-F238E27FC236}">
                <a16:creationId xmlns:a16="http://schemas.microsoft.com/office/drawing/2014/main" id="{E668CC6E-5D2A-4F47-99D1-F7AE789A9623}"/>
              </a:ext>
            </a:extLst>
          </p:cNvPr>
          <p:cNvSpPr/>
          <p:nvPr/>
        </p:nvSpPr>
        <p:spPr>
          <a:xfrm>
            <a:off x="5781674" y="1357514"/>
            <a:ext cx="5768641" cy="450538"/>
          </a:xfrm>
          <a:prstGeom prst="snip1Rect">
            <a:avLst>
              <a:gd name="adj" fmla="val 22967"/>
            </a:avLst>
          </a:prstGeom>
          <a:gradFill>
            <a:gsLst>
              <a:gs pos="0">
                <a:schemeClr val="tx2"/>
              </a:gs>
              <a:gs pos="100000">
                <a:schemeClr val="accent1"/>
              </a:gs>
            </a:gsLst>
            <a:lin ang="2700000" scaled="1"/>
          </a:gradFill>
          <a:ln>
            <a:noFill/>
          </a:ln>
        </p:spPr>
        <p:style>
          <a:lnRef idx="0">
            <a:schemeClr val="accent1"/>
          </a:lnRef>
          <a:fillRef idx="1">
            <a:schemeClr val="accent1"/>
          </a:fillRef>
          <a:effectRef idx="0">
            <a:srgbClr val="000000"/>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ADA7A44-4C3A-3BF9-0A4C-C1FA7ADC453D}"/>
              </a:ext>
            </a:extLst>
          </p:cNvPr>
          <p:cNvSpPr>
            <a:spLocks noGrp="1"/>
          </p:cNvSpPr>
          <p:nvPr>
            <p:ph type="title"/>
          </p:nvPr>
        </p:nvSpPr>
        <p:spPr>
          <a:xfrm>
            <a:off x="630000" y="622800"/>
            <a:ext cx="10933350" cy="332399"/>
          </a:xfrm>
        </p:spPr>
        <p:txBody>
          <a:bodyPr vert="horz"/>
          <a:lstStyle/>
          <a:p>
            <a:r>
              <a:rPr lang="en-US"/>
              <a:t>Key application submission rules for Tranche-3</a:t>
            </a:r>
          </a:p>
        </p:txBody>
      </p:sp>
      <p:graphicFrame>
        <p:nvGraphicFramePr>
          <p:cNvPr id="10" name="Table 9">
            <a:extLst>
              <a:ext uri="{FF2B5EF4-FFF2-40B4-BE49-F238E27FC236}">
                <a16:creationId xmlns:a16="http://schemas.microsoft.com/office/drawing/2014/main" id="{26896A1B-421B-DC6E-3D8E-F65CF488BEF6}"/>
              </a:ext>
            </a:extLst>
          </p:cNvPr>
          <p:cNvGraphicFramePr>
            <a:graphicFrameLocks noGrp="1"/>
          </p:cNvGraphicFramePr>
          <p:nvPr>
            <p:extLst>
              <p:ext uri="{D42A27DB-BD31-4B8C-83A1-F6EECF244321}">
                <p14:modId xmlns:p14="http://schemas.microsoft.com/office/powerpoint/2010/main" val="2956841137"/>
              </p:ext>
            </p:extLst>
          </p:nvPr>
        </p:nvGraphicFramePr>
        <p:xfrm>
          <a:off x="629399" y="1436423"/>
          <a:ext cx="10933350" cy="4848705"/>
        </p:xfrm>
        <a:graphic>
          <a:graphicData uri="http://schemas.openxmlformats.org/drawingml/2006/table">
            <a:tbl>
              <a:tblPr>
                <a:tableStyleId>{2D5ABB26-0587-4C30-8999-92F81FD0307C}</a:tableStyleId>
              </a:tblPr>
              <a:tblGrid>
                <a:gridCol w="5161801">
                  <a:extLst>
                    <a:ext uri="{9D8B030D-6E8A-4147-A177-3AD203B41FA5}">
                      <a16:colId xmlns:a16="http://schemas.microsoft.com/office/drawing/2014/main" val="1709380809"/>
                    </a:ext>
                  </a:extLst>
                </a:gridCol>
                <a:gridCol w="5771549">
                  <a:extLst>
                    <a:ext uri="{9D8B030D-6E8A-4147-A177-3AD203B41FA5}">
                      <a16:colId xmlns:a16="http://schemas.microsoft.com/office/drawing/2014/main" val="1359328826"/>
                    </a:ext>
                  </a:extLst>
                </a:gridCol>
              </a:tblGrid>
              <a:tr h="315830">
                <a:tc>
                  <a:txBody>
                    <a:bodyPr/>
                    <a:lstStyle/>
                    <a:p>
                      <a:pPr marL="0" lvl="0" indent="0" algn="ctr" rtl="0" fontAlgn="base" hangingPunct="1">
                        <a:lnSpc>
                          <a:spcPct val="100000"/>
                        </a:lnSpc>
                        <a:spcBef>
                          <a:spcPct val="0"/>
                        </a:spcBef>
                        <a:spcAft>
                          <a:spcPct val="0"/>
                        </a:spcAft>
                      </a:pPr>
                      <a:r>
                        <a:rPr lang="en-US" sz="1800" b="0" i="0" u="none" strike="noStrike">
                          <a:solidFill>
                            <a:srgbClr val="FFFFFF"/>
                          </a:solidFill>
                          <a:effectLst/>
                          <a:latin typeface="+mn-lt"/>
                        </a:rPr>
                        <a:t>Tranche-3 application questions</a:t>
                      </a:r>
                    </a:p>
                  </a:txBody>
                  <a:tcPr marL="109728" marR="45720" anchor="ctr">
                    <a:lnR w="9525" cap="flat" cmpd="sng" algn="ctr">
                      <a:noFill/>
                      <a:prstDash val="sysDot"/>
                      <a:round/>
                      <a:headEnd type="none" w="med" len="med"/>
                      <a:tailEnd type="none" w="med" len="med"/>
                    </a:lnR>
                    <a:lnB w="12700" cap="flat" cmpd="sng" algn="ctr">
                      <a:solidFill>
                        <a:schemeClr val="tx2"/>
                      </a:solidFill>
                      <a:prstDash val="solid"/>
                      <a:round/>
                      <a:headEnd type="none" w="med" len="med"/>
                      <a:tailEnd type="none" w="med" len="med"/>
                    </a:lnB>
                    <a:noFill/>
                  </a:tcPr>
                </a:tc>
                <a:tc>
                  <a:txBody>
                    <a:bodyPr/>
                    <a:lstStyle/>
                    <a:p>
                      <a:pPr marL="0" lvl="0" indent="0" algn="ctr" rtl="0" fontAlgn="base" hangingPunct="1">
                        <a:lnSpc>
                          <a:spcPct val="100000"/>
                        </a:lnSpc>
                        <a:spcBef>
                          <a:spcPct val="0"/>
                        </a:spcBef>
                        <a:spcAft>
                          <a:spcPct val="0"/>
                        </a:spcAft>
                      </a:pPr>
                      <a:r>
                        <a:rPr lang="en-US" sz="1800" b="0" i="0" u="none" strike="noStrike">
                          <a:solidFill>
                            <a:srgbClr val="FFFFFF"/>
                          </a:solidFill>
                          <a:effectLst/>
                          <a:latin typeface="+mn-lt"/>
                        </a:rPr>
                        <a:t>Tranche-3 application rules</a:t>
                      </a:r>
                    </a:p>
                  </a:txBody>
                  <a:tcPr marL="109728" marR="45720" anchor="ctr">
                    <a:lnL w="9525" cap="flat" cmpd="sng" algn="ctr">
                      <a:noFill/>
                      <a:prstDash val="sysDot"/>
                      <a:round/>
                      <a:headEnd type="none" w="med" len="med"/>
                      <a:tailEnd type="none" w="med" len="med"/>
                    </a:lnL>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432455372"/>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Who can participate?</a:t>
                      </a:r>
                    </a:p>
                  </a:txBody>
                  <a:tcPr marL="45720" marR="45720" marT="0" marB="0"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All successfully pre-registered providers can participate</a:t>
                      </a:r>
                    </a:p>
                  </a:txBody>
                  <a:tcPr marL="45720" marR="45720" marT="0" marB="0"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305056403"/>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What types of bids are there?</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New bids only</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717594408"/>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What are the possible outcomes for bids?</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Preliminarily Selected or Not Selected (i.e., Closed)</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035061000"/>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How many </a:t>
                      </a:r>
                      <a:r>
                        <a:rPr lang="en-US" sz="1400" b="1" i="0" u="none" strike="noStrike" err="1">
                          <a:solidFill>
                            <a:schemeClr val="tx1"/>
                          </a:solidFill>
                          <a:effectLst/>
                          <a:latin typeface="+mn-lt"/>
                        </a:rPr>
                        <a:t>CBGs</a:t>
                      </a:r>
                      <a:r>
                        <a:rPr lang="en-US" sz="1400" b="1" i="0" u="none" strike="noStrike">
                          <a:solidFill>
                            <a:schemeClr val="tx1"/>
                          </a:solidFill>
                          <a:effectLst/>
                          <a:latin typeface="+mn-lt"/>
                        </a:rPr>
                        <a:t> can be included in a project area?</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Project area size of 1 </a:t>
                      </a:r>
                      <a:r>
                        <a:rPr lang="en-US" sz="1400" b="0" i="0" u="none" strike="noStrike" err="1">
                          <a:solidFill>
                            <a:srgbClr val="000000"/>
                          </a:solidFill>
                          <a:effectLst/>
                          <a:latin typeface="+mn-lt"/>
                        </a:rPr>
                        <a:t>CBG</a:t>
                      </a:r>
                      <a:r>
                        <a:rPr lang="en-US" sz="1400" b="0" i="0" u="none" strike="noStrike">
                          <a:solidFill>
                            <a:srgbClr val="000000"/>
                          </a:solidFill>
                          <a:effectLst/>
                          <a:latin typeface="+mn-lt"/>
                        </a:rPr>
                        <a:t> with the exception of "donut" </a:t>
                      </a:r>
                      <a:r>
                        <a:rPr lang="en-US" sz="1400" b="0" i="0" u="none" strike="noStrike" err="1">
                          <a:solidFill>
                            <a:srgbClr val="000000"/>
                          </a:solidFill>
                          <a:effectLst/>
                          <a:latin typeface="+mn-lt"/>
                        </a:rPr>
                        <a:t>CBGs</a:t>
                      </a:r>
                      <a:endParaRPr lang="en-US" sz="1400" b="0" i="0" u="none" strike="noStrike">
                        <a:solidFill>
                          <a:srgbClr val="000000"/>
                        </a:solidFill>
                        <a:effectLst/>
                        <a:latin typeface="+mn-lt"/>
                      </a:endParaRP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013550972"/>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How many times can an applicant bid on a particular </a:t>
                      </a:r>
                      <a:r>
                        <a:rPr lang="en-US" sz="1400" b="1" i="0" u="none" strike="noStrike" err="1">
                          <a:solidFill>
                            <a:schemeClr val="tx1"/>
                          </a:solidFill>
                          <a:effectLst/>
                          <a:latin typeface="+mn-lt"/>
                        </a:rPr>
                        <a:t>CBG</a:t>
                      </a:r>
                      <a:r>
                        <a:rPr lang="en-US" sz="1400" b="1" i="0" u="none" strike="noStrike">
                          <a:solidFill>
                            <a:schemeClr val="tx1"/>
                          </a:solidFill>
                          <a:effectLst/>
                          <a:latin typeface="+mn-lt"/>
                        </a:rPr>
                        <a:t>?</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An applicant can bid on a particular </a:t>
                      </a:r>
                      <a:r>
                        <a:rPr lang="en-US" sz="1400" b="0" i="0" u="none" strike="noStrike" err="1">
                          <a:solidFill>
                            <a:srgbClr val="000000"/>
                          </a:solidFill>
                          <a:effectLst/>
                          <a:latin typeface="+mn-lt"/>
                        </a:rPr>
                        <a:t>CBG</a:t>
                      </a:r>
                      <a:r>
                        <a:rPr lang="en-US" sz="1400" b="0" i="0" u="none" strike="noStrike">
                          <a:solidFill>
                            <a:srgbClr val="000000"/>
                          </a:solidFill>
                          <a:effectLst/>
                          <a:latin typeface="+mn-lt"/>
                        </a:rPr>
                        <a:t> up to 3 times</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3364559814"/>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Are there any subsidy thresholds?</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There are no subsidy thresholds; however, subsidy request is still the largest portion of a bid's score</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2632375751"/>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Which technology types are eligible for selection?</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All technology types are eligible for selection, including Alternative</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extLst>
                  <a:ext uri="{0D108BD9-81ED-4DB2-BD59-A6C34878D82A}">
                    <a16:rowId xmlns:a16="http://schemas.microsoft.com/office/drawing/2014/main" val="676681844"/>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How many points are available?</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solidFill>
                      <a:srgbClr val="DBE9F9"/>
                    </a:solidFill>
                  </a:tcPr>
                </a:tc>
                <a:tc>
                  <a:txBody>
                    <a:bodyPr/>
                    <a:lstStyle/>
                    <a:p>
                      <a:pPr marL="0" lvl="0" indent="0" algn="l" defTabSz="914400" rtl="0" eaLnBrk="1" fontAlgn="auto" latinLnBrk="0" hangingPunct="1">
                        <a:lnSpc>
                          <a:spcPct val="100000"/>
                        </a:lnSpc>
                        <a:spcBef>
                          <a:spcPts val="0"/>
                        </a:spcBef>
                        <a:spcAft>
                          <a:spcPts val="0"/>
                        </a:spcAft>
                        <a:buClr>
                          <a:srgbClr val="1A5BA7"/>
                        </a:buClr>
                        <a:buFont typeface="Trebuchet MS" panose="020B0603020202020204" pitchFamily="34" charset="0"/>
                        <a:buChar char="​"/>
                      </a:pPr>
                      <a:r>
                        <a:rPr lang="en-US" sz="1400" b="0" i="0" u="none" strike="noStrike">
                          <a:solidFill>
                            <a:srgbClr val="000000"/>
                          </a:solidFill>
                          <a:effectLst/>
                          <a:latin typeface="+mn-lt"/>
                        </a:rPr>
                        <a:t>95 points are available as the zero-bid criteria will not be scored</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2697336751"/>
                  </a:ext>
                </a:extLst>
              </a:tr>
              <a:tr h="498105">
                <a:tc>
                  <a:txBody>
                    <a:bodyPr/>
                    <a:lstStyle/>
                    <a:p>
                      <a:pPr marL="0" indent="0" algn="l" rtl="0" fontAlgn="auto" hangingPunct="1">
                        <a:lnSpc>
                          <a:spcPct val="100000"/>
                        </a:lnSpc>
                        <a:spcBef>
                          <a:spcPts val="0"/>
                        </a:spcBef>
                        <a:spcAft>
                          <a:spcPts val="0"/>
                        </a:spcAft>
                      </a:pPr>
                      <a:r>
                        <a:rPr lang="en-US" sz="1400" b="1" i="0" u="none" strike="noStrike">
                          <a:solidFill>
                            <a:schemeClr val="tx1"/>
                          </a:solidFill>
                          <a:effectLst/>
                          <a:latin typeface="+mn-lt"/>
                        </a:rPr>
                        <a:t>How long is the application window, and when will it open?</a:t>
                      </a:r>
                    </a:p>
                  </a:txBody>
                  <a:tcPr marL="45720" marR="45720" marT="0" marB="0" anchor="ctr">
                    <a:lnL w="12700" cap="flat" cmpd="sng" algn="ctr">
                      <a:solidFill>
                        <a:schemeClr val="tx2"/>
                      </a:solidFill>
                      <a:prstDash val="solid"/>
                      <a:round/>
                      <a:headEnd type="none" w="med" len="med"/>
                      <a:tailEnd type="none" w="med" len="med"/>
                    </a:lnL>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solidFill>
                      <a:srgbClr val="DBE9F9"/>
                    </a:solid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lang="en-US" sz="1400" b="0" i="0" u="none" strike="noStrike">
                          <a:solidFill>
                            <a:srgbClr val="000000"/>
                          </a:solidFill>
                          <a:effectLst/>
                          <a:latin typeface="+mn-lt"/>
                        </a:rPr>
                        <a:t>7-day application window tentatively scheduled to open next week</a:t>
                      </a:r>
                    </a:p>
                  </a:txBody>
                  <a:tcPr marL="45720" marR="45720" marT="0" marB="0" anchor="ctr">
                    <a:lnR w="12700" cap="flat" cmpd="sng" algn="ctr">
                      <a:solidFill>
                        <a:schemeClr val="tx2"/>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4037850452"/>
                  </a:ext>
                </a:extLst>
              </a:tr>
            </a:tbl>
          </a:graphicData>
        </a:graphic>
      </p:graphicFrame>
      <p:graphicFrame>
        <p:nvGraphicFramePr>
          <p:cNvPr id="19" name="think-cell data - do not delete" hidden="1">
            <a:extLst>
              <a:ext uri="{FF2B5EF4-FFF2-40B4-BE49-F238E27FC236}">
                <a16:creationId xmlns:a16="http://schemas.microsoft.com/office/drawing/2014/main" id="{60509FB1-A324-5D67-A8AF-2EF2B2427EF2}"/>
              </a:ext>
            </a:extLst>
          </p:cNvPr>
          <p:cNvGraphicFramePr>
            <a:graphicFrameLocks noChangeAspect="1"/>
          </p:cNvGraphicFramePr>
          <p:nvPr>
            <p:custDataLst>
              <p:tags r:id="rId2"/>
            </p:custDataLst>
            <p:extLst>
              <p:ext uri="{D42A27DB-BD31-4B8C-83A1-F6EECF244321}">
                <p14:modId xmlns:p14="http://schemas.microsoft.com/office/powerpoint/2010/main" val="315686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9" imgH="396" progId="TCLayout.ActiveDocument.1">
                  <p:embed/>
                </p:oleObj>
              </mc:Choice>
              <mc:Fallback>
                <p:oleObj name="think-cell Slide" r:id="rId7" imgW="389" imgH="396" progId="TCLayout.ActiveDocument.1">
                  <p:embed/>
                  <p:pic>
                    <p:nvPicPr>
                      <p:cNvPr id="19" name="think-cell data - do not delete" hidden="1">
                        <a:extLst>
                          <a:ext uri="{FF2B5EF4-FFF2-40B4-BE49-F238E27FC236}">
                            <a16:creationId xmlns:a16="http://schemas.microsoft.com/office/drawing/2014/main" id="{60509FB1-A324-5D67-A8AF-2EF2B2427EF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02199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E120AB-CE83-7B8A-76C7-5B79FE30D417}"/>
            </a:ext>
          </a:extLst>
        </p:cNvPr>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AC5AB8ED-1E8C-DB3E-CE82-E28B3D3689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1" imgH="472" progId="TCLayout.ActiveDocument.1">
                  <p:embed/>
                </p:oleObj>
              </mc:Choice>
              <mc:Fallback>
                <p:oleObj name="think-cell Slide" r:id="rId11" imgW="471" imgH="472" progId="TCLayout.ActiveDocument.1">
                  <p:embed/>
                  <p:pic>
                    <p:nvPicPr>
                      <p:cNvPr id="38" name="Object 37" hidden="1">
                        <a:extLst>
                          <a:ext uri="{FF2B5EF4-FFF2-40B4-BE49-F238E27FC236}">
                            <a16:creationId xmlns:a16="http://schemas.microsoft.com/office/drawing/2014/main" id="{AC5AB8ED-1E8C-DB3E-CE82-E28B3D3689A4}"/>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F4C1DF1C-2726-6BA9-159B-F4E455D3E4E3}"/>
              </a:ext>
            </a:extLst>
          </p:cNvPr>
          <p:cNvGraphicFramePr>
            <a:graphicFrameLocks noGrp="1"/>
          </p:cNvGraphicFramePr>
          <p:nvPr>
            <p:extLst>
              <p:ext uri="{D42A27DB-BD31-4B8C-83A1-F6EECF244321}">
                <p14:modId xmlns:p14="http://schemas.microsoft.com/office/powerpoint/2010/main" val="78881698"/>
              </p:ext>
            </p:extLst>
          </p:nvPr>
        </p:nvGraphicFramePr>
        <p:xfrm>
          <a:off x="4570040" y="1973150"/>
          <a:ext cx="6991960" cy="2911700"/>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are the application submission rules for Tranche-3?</a:t>
                      </a: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25110860"/>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What </a:t>
                      </a:r>
                      <a:r>
                        <a:rPr lang="en-US" dirty="0" err="1">
                          <a:solidFill>
                            <a:srgbClr val="000000"/>
                          </a:solidFill>
                          <a:latin typeface="Arial" panose="020B0604020202020204" pitchFamily="34" charset="0"/>
                          <a:cs typeface="Arial" panose="020B0604020202020204" pitchFamily="34" charset="0"/>
                        </a:rPr>
                        <a:t>CBGs</a:t>
                      </a:r>
                      <a:r>
                        <a:rPr lang="en-US" dirty="0">
                          <a:solidFill>
                            <a:srgbClr val="000000"/>
                          </a:solidFill>
                          <a:latin typeface="Arial" panose="020B0604020202020204" pitchFamily="34" charset="0"/>
                          <a:cs typeface="Arial" panose="020B0604020202020204" pitchFamily="34" charset="0"/>
                        </a:rPr>
                        <a:t> are available for bidding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37428618"/>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How will applications be preliminarily selected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510883694"/>
                  </a:ext>
                </a:extLst>
              </a:tr>
              <a:tr h="727925">
                <a:tc>
                  <a:txBody>
                    <a:bodyPr/>
                    <a:lstStyle/>
                    <a:p>
                      <a:pPr marL="0" indent="0" algn="l" rtl="0" fontAlgn="auto" hangingPunct="1">
                        <a:lnSpc>
                          <a:spcPct val="100000"/>
                        </a:lnSpc>
                        <a:spcBef>
                          <a:spcPts val="0"/>
                        </a:spcBef>
                        <a:spcAft>
                          <a:spcPts val="0"/>
                        </a:spcAft>
                      </a:pPr>
                      <a:endParaRPr lang="en-US" sz="1400" b="0" i="0" u="none" dirty="0">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Resources and reminders</a:t>
                      </a: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7666917"/>
                  </a:ext>
                </a:extLst>
              </a:tr>
            </a:tbl>
          </a:graphicData>
        </a:graphic>
      </p:graphicFrame>
      <p:grpSp>
        <p:nvGrpSpPr>
          <p:cNvPr id="8" name="Group 7">
            <a:extLst>
              <a:ext uri="{FF2B5EF4-FFF2-40B4-BE49-F238E27FC236}">
                <a16:creationId xmlns:a16="http://schemas.microsoft.com/office/drawing/2014/main" id="{9400FAE2-30AF-FD6E-21F8-6F3CBB8AB5F8}"/>
              </a:ext>
            </a:extLst>
          </p:cNvPr>
          <p:cNvGrpSpPr/>
          <p:nvPr/>
        </p:nvGrpSpPr>
        <p:grpSpPr>
          <a:xfrm>
            <a:off x="0" y="0"/>
            <a:ext cx="4116907" cy="6858000"/>
            <a:chOff x="0" y="0"/>
            <a:chExt cx="4116907" cy="6858000"/>
          </a:xfrm>
        </p:grpSpPr>
        <p:pic>
          <p:nvPicPr>
            <p:cNvPr id="5" name="Picture 4">
              <a:extLst>
                <a:ext uri="{FF2B5EF4-FFF2-40B4-BE49-F238E27FC236}">
                  <a16:creationId xmlns:a16="http://schemas.microsoft.com/office/drawing/2014/main" id="{D00B9F9E-6570-8B0E-5211-81570C74C2FC}"/>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0" y="0"/>
              <a:ext cx="4116907" cy="6858000"/>
            </a:xfrm>
            <a:prstGeom prst="rect">
              <a:avLst/>
            </a:prstGeom>
          </p:spPr>
        </p:pic>
        <p:sp>
          <p:nvSpPr>
            <p:cNvPr id="3" name="Rectangle 2">
              <a:extLst>
                <a:ext uri="{FF2B5EF4-FFF2-40B4-BE49-F238E27FC236}">
                  <a16:creationId xmlns:a16="http://schemas.microsoft.com/office/drawing/2014/main" id="{A906243C-7011-596C-3653-B7BC0C64176A}"/>
                </a:ext>
              </a:extLst>
            </p:cNvPr>
            <p:cNvSpPr/>
            <p:nvPr/>
          </p:nvSpPr>
          <p:spPr>
            <a:xfrm>
              <a:off x="0" y="0"/>
              <a:ext cx="4116907" cy="6858000"/>
            </a:xfrm>
            <a:prstGeom prst="rect">
              <a:avLst/>
            </a:prstGeom>
            <a:gradFill>
              <a:gsLst>
                <a:gs pos="0">
                  <a:schemeClr val="accent4">
                    <a:alpha val="70000"/>
                  </a:schemeClr>
                </a:gs>
                <a:gs pos="100000">
                  <a:schemeClr val="tx2">
                    <a:alpha val="9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39" name="Title 38">
            <a:extLst>
              <a:ext uri="{FF2B5EF4-FFF2-40B4-BE49-F238E27FC236}">
                <a16:creationId xmlns:a16="http://schemas.microsoft.com/office/drawing/2014/main" id="{1776F5F8-5D6B-42C6-24D7-FBC8960017BD}"/>
              </a:ext>
            </a:extLst>
          </p:cNvPr>
          <p:cNvSpPr>
            <a:spLocks noGrp="1"/>
          </p:cNvSpPr>
          <p:nvPr>
            <p:ph type="title"/>
          </p:nvPr>
        </p:nvSpPr>
        <p:spPr/>
        <p:txBody>
          <a:bodyPr vert="horz"/>
          <a:lstStyle/>
          <a:p>
            <a:r>
              <a:rPr lang="en-US" sz="4400"/>
              <a:t>Agenda</a:t>
            </a:r>
          </a:p>
        </p:txBody>
      </p:sp>
      <p:cxnSp>
        <p:nvCxnSpPr>
          <p:cNvPr id="7" name="Straight Connector 6">
            <a:extLst>
              <a:ext uri="{FF2B5EF4-FFF2-40B4-BE49-F238E27FC236}">
                <a16:creationId xmlns:a16="http://schemas.microsoft.com/office/drawing/2014/main" id="{007415DE-FC36-BBB5-1480-FD679A8CDDFA}"/>
              </a:ext>
            </a:extLst>
          </p:cNvPr>
          <p:cNvCxnSpPr/>
          <p:nvPr/>
        </p:nvCxnSpPr>
        <p:spPr>
          <a:xfrm>
            <a:off x="4880583" y="0"/>
            <a:ext cx="0" cy="685800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A8DC86E-86DA-0DB5-FB33-1CF81BF2D52D}"/>
              </a:ext>
            </a:extLst>
          </p:cNvPr>
          <p:cNvSpPr/>
          <p:nvPr/>
        </p:nvSpPr>
        <p:spPr>
          <a:xfrm>
            <a:off x="1" y="0"/>
            <a:ext cx="4114800" cy="6858000"/>
          </a:xfrm>
          <a:prstGeom prst="rect">
            <a:avLst/>
          </a:prstGeom>
          <a:solidFill>
            <a:srgbClr val="1A5BA7"/>
          </a:solidFill>
          <a:ln>
            <a:solidFill>
              <a:srgbClr val="2459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atin typeface="Arial "/>
              </a:rPr>
              <a:t>Agenda</a:t>
            </a:r>
            <a:endParaRPr lang="en-US" sz="4000" dirty="0">
              <a:latin typeface="Arial "/>
              <a:cs typeface="Arial" panose="020B0604020202020204" pitchFamily="34" charset="0"/>
            </a:endParaRPr>
          </a:p>
        </p:txBody>
      </p:sp>
      <p:graphicFrame>
        <p:nvGraphicFramePr>
          <p:cNvPr id="6" name="think-cell data - do not delete" hidden="1">
            <a:extLst>
              <a:ext uri="{FF2B5EF4-FFF2-40B4-BE49-F238E27FC236}">
                <a16:creationId xmlns:a16="http://schemas.microsoft.com/office/drawing/2014/main" id="{959FC799-820C-AE52-2F62-4BCAC2C019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6" name="think-cell data - do not delete" hidden="1">
                        <a:extLst>
                          <a:ext uri="{FF2B5EF4-FFF2-40B4-BE49-F238E27FC236}">
                            <a16:creationId xmlns:a16="http://schemas.microsoft.com/office/drawing/2014/main" id="{959FC799-820C-AE52-2F62-4BCAC2C0196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6" name="think-cell data - do not delete" hidden="1">
            <a:extLst>
              <a:ext uri="{FF2B5EF4-FFF2-40B4-BE49-F238E27FC236}">
                <a16:creationId xmlns:a16="http://schemas.microsoft.com/office/drawing/2014/main" id="{B74C3C7C-3449-D190-8273-0DC67B88B4E3}"/>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6" name="think-cell data - do not delete" hidden="1">
                        <a:extLst>
                          <a:ext uri="{FF2B5EF4-FFF2-40B4-BE49-F238E27FC236}">
                            <a16:creationId xmlns:a16="http://schemas.microsoft.com/office/drawing/2014/main" id="{B74C3C7C-3449-D190-8273-0DC67B88B4E3}"/>
                          </a:ext>
                        </a:extLst>
                      </p:cNvPr>
                      <p:cNvPicPr/>
                      <p:nvPr/>
                    </p:nvPicPr>
                    <p:blipFill>
                      <a:blip r:embed="rId15"/>
                      <a:stretch>
                        <a:fillRect/>
                      </a:stretch>
                    </p:blipFill>
                    <p:spPr>
                      <a:xfrm>
                        <a:off x="153988" y="153988"/>
                        <a:ext cx="1588" cy="1588"/>
                      </a:xfrm>
                      <a:prstGeom prst="rect">
                        <a:avLst/>
                      </a:prstGeom>
                    </p:spPr>
                  </p:pic>
                </p:oleObj>
              </mc:Fallback>
            </mc:AlternateContent>
          </a:graphicData>
        </a:graphic>
      </p:graphicFrame>
      <p:graphicFrame>
        <p:nvGraphicFramePr>
          <p:cNvPr id="18" name="think-cell data - do not delete" hidden="1">
            <a:extLst>
              <a:ext uri="{FF2B5EF4-FFF2-40B4-BE49-F238E27FC236}">
                <a16:creationId xmlns:a16="http://schemas.microsoft.com/office/drawing/2014/main" id="{D62705CC-9B45-3205-122B-FE40E5E05BCF}"/>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8" name="think-cell data - do not delete" hidden="1">
                        <a:extLst>
                          <a:ext uri="{FF2B5EF4-FFF2-40B4-BE49-F238E27FC236}">
                            <a16:creationId xmlns:a16="http://schemas.microsoft.com/office/drawing/2014/main" id="{D62705CC-9B45-3205-122B-FE40E5E05BCF}"/>
                          </a:ext>
                        </a:extLst>
                      </p:cNvPr>
                      <p:cNvPicPr/>
                      <p:nvPr/>
                    </p:nvPicPr>
                    <p:blipFill>
                      <a:blip r:embed="rId15"/>
                      <a:stretch>
                        <a:fillRect/>
                      </a:stretch>
                    </p:blipFill>
                    <p:spPr>
                      <a:xfrm>
                        <a:off x="306388" y="306388"/>
                        <a:ext cx="1588" cy="1588"/>
                      </a:xfrm>
                      <a:prstGeom prst="rect">
                        <a:avLst/>
                      </a:prstGeom>
                    </p:spPr>
                  </p:pic>
                </p:oleObj>
              </mc:Fallback>
            </mc:AlternateContent>
          </a:graphicData>
        </a:graphic>
      </p:graphicFrame>
      <p:graphicFrame>
        <p:nvGraphicFramePr>
          <p:cNvPr id="23" name="think-cell data - do not delete" hidden="1">
            <a:extLst>
              <a:ext uri="{FF2B5EF4-FFF2-40B4-BE49-F238E27FC236}">
                <a16:creationId xmlns:a16="http://schemas.microsoft.com/office/drawing/2014/main" id="{F77188F4-DA74-B549-ED42-6DA062CF13A7}"/>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3" name="think-cell data - do not delete" hidden="1">
                        <a:extLst>
                          <a:ext uri="{FF2B5EF4-FFF2-40B4-BE49-F238E27FC236}">
                            <a16:creationId xmlns:a16="http://schemas.microsoft.com/office/drawing/2014/main" id="{F77188F4-DA74-B549-ED42-6DA062CF13A7}"/>
                          </a:ext>
                        </a:extLst>
                      </p:cNvPr>
                      <p:cNvPicPr/>
                      <p:nvPr/>
                    </p:nvPicPr>
                    <p:blipFill>
                      <a:blip r:embed="rId15"/>
                      <a:stretch>
                        <a:fillRect/>
                      </a:stretch>
                    </p:blipFill>
                    <p:spPr>
                      <a:xfrm>
                        <a:off x="458788" y="458788"/>
                        <a:ext cx="1588" cy="1588"/>
                      </a:xfrm>
                      <a:prstGeom prst="rect">
                        <a:avLst/>
                      </a:prstGeom>
                    </p:spPr>
                  </p:pic>
                </p:oleObj>
              </mc:Fallback>
            </mc:AlternateContent>
          </a:graphicData>
        </a:graphic>
      </p:graphicFrame>
      <p:graphicFrame>
        <p:nvGraphicFramePr>
          <p:cNvPr id="25" name="think-cell data - do not delete" hidden="1">
            <a:extLst>
              <a:ext uri="{FF2B5EF4-FFF2-40B4-BE49-F238E27FC236}">
                <a16:creationId xmlns:a16="http://schemas.microsoft.com/office/drawing/2014/main" id="{93B51181-D87D-2FDA-D843-9C2784D20E1C}"/>
              </a:ext>
            </a:extLst>
          </p:cNvPr>
          <p:cNvGraphicFramePr>
            <a:graphicFrameLocks noChangeAspect="1"/>
          </p:cNvGraphicFramePr>
          <p:nvPr>
            <p:custDataLst>
              <p:tags r:id="rId6"/>
            </p:custDataLst>
          </p:nvPr>
        </p:nvGraphicFramePr>
        <p:xfrm>
          <a:off x="611188" y="6111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5" name="think-cell data - do not delete" hidden="1">
                        <a:extLst>
                          <a:ext uri="{FF2B5EF4-FFF2-40B4-BE49-F238E27FC236}">
                            <a16:creationId xmlns:a16="http://schemas.microsoft.com/office/drawing/2014/main" id="{93B51181-D87D-2FDA-D843-9C2784D20E1C}"/>
                          </a:ext>
                        </a:extLst>
                      </p:cNvPr>
                      <p:cNvPicPr/>
                      <p:nvPr/>
                    </p:nvPicPr>
                    <p:blipFill>
                      <a:blip r:embed="rId15"/>
                      <a:stretch>
                        <a:fillRect/>
                      </a:stretch>
                    </p:blipFill>
                    <p:spPr>
                      <a:xfrm>
                        <a:off x="611188" y="611188"/>
                        <a:ext cx="1588" cy="1588"/>
                      </a:xfrm>
                      <a:prstGeom prst="rect">
                        <a:avLst/>
                      </a:prstGeom>
                    </p:spPr>
                  </p:pic>
                </p:oleObj>
              </mc:Fallback>
            </mc:AlternateContent>
          </a:graphicData>
        </a:graphic>
      </p:graphicFrame>
      <p:sp>
        <p:nvSpPr>
          <p:cNvPr id="26" name="Oval 20">
            <a:extLst>
              <a:ext uri="{FF2B5EF4-FFF2-40B4-BE49-F238E27FC236}">
                <a16:creationId xmlns:a16="http://schemas.microsoft.com/office/drawing/2014/main" id="{40DB4BEA-0A30-20DB-221B-BFF5B4192A10}"/>
              </a:ext>
            </a:extLst>
          </p:cNvPr>
          <p:cNvSpPr>
            <a:spLocks noChangeAspect="1" noChangeArrowheads="1"/>
          </p:cNvSpPr>
          <p:nvPr/>
        </p:nvSpPr>
        <p:spPr bwMode="auto">
          <a:xfrm>
            <a:off x="4673724" y="359531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3</a:t>
            </a:r>
          </a:p>
        </p:txBody>
      </p:sp>
      <p:graphicFrame>
        <p:nvGraphicFramePr>
          <p:cNvPr id="27" name="think-cell data - do not delete" hidden="1">
            <a:extLst>
              <a:ext uri="{FF2B5EF4-FFF2-40B4-BE49-F238E27FC236}">
                <a16:creationId xmlns:a16="http://schemas.microsoft.com/office/drawing/2014/main" id="{A6835366-B8D2-7CB7-5764-2B13B39D2E48}"/>
              </a:ext>
            </a:extLst>
          </p:cNvPr>
          <p:cNvGraphicFramePr>
            <a:graphicFrameLocks noChangeAspect="1"/>
          </p:cNvGraphicFramePr>
          <p:nvPr>
            <p:custDataLst>
              <p:tags r:id="rId7"/>
            </p:custDataLst>
          </p:nvPr>
        </p:nvGraphicFramePr>
        <p:xfrm>
          <a:off x="763588" y="763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7" name="think-cell data - do not delete" hidden="1">
                        <a:extLst>
                          <a:ext uri="{FF2B5EF4-FFF2-40B4-BE49-F238E27FC236}">
                            <a16:creationId xmlns:a16="http://schemas.microsoft.com/office/drawing/2014/main" id="{A6835366-B8D2-7CB7-5764-2B13B39D2E48}"/>
                          </a:ext>
                        </a:extLst>
                      </p:cNvPr>
                      <p:cNvPicPr/>
                      <p:nvPr/>
                    </p:nvPicPr>
                    <p:blipFill>
                      <a:blip r:embed="rId15"/>
                      <a:stretch>
                        <a:fillRect/>
                      </a:stretch>
                    </p:blipFill>
                    <p:spPr>
                      <a:xfrm>
                        <a:off x="763588" y="763588"/>
                        <a:ext cx="1588" cy="1588"/>
                      </a:xfrm>
                      <a:prstGeom prst="rect">
                        <a:avLst/>
                      </a:prstGeom>
                    </p:spPr>
                  </p:pic>
                </p:oleObj>
              </mc:Fallback>
            </mc:AlternateContent>
          </a:graphicData>
        </a:graphic>
      </p:graphicFrame>
      <p:sp>
        <p:nvSpPr>
          <p:cNvPr id="29" name="Oval 20">
            <a:extLst>
              <a:ext uri="{FF2B5EF4-FFF2-40B4-BE49-F238E27FC236}">
                <a16:creationId xmlns:a16="http://schemas.microsoft.com/office/drawing/2014/main" id="{CEC94A5B-25AC-FE85-4A07-6211D6FA9B0C}"/>
              </a:ext>
            </a:extLst>
          </p:cNvPr>
          <p:cNvSpPr>
            <a:spLocks noChangeAspect="1" noChangeArrowheads="1"/>
          </p:cNvSpPr>
          <p:nvPr/>
        </p:nvSpPr>
        <p:spPr bwMode="auto">
          <a:xfrm>
            <a:off x="4673724" y="286739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2</a:t>
            </a:r>
          </a:p>
        </p:txBody>
      </p:sp>
      <p:graphicFrame>
        <p:nvGraphicFramePr>
          <p:cNvPr id="30" name="think-cell data - do not delete" hidden="1">
            <a:extLst>
              <a:ext uri="{FF2B5EF4-FFF2-40B4-BE49-F238E27FC236}">
                <a16:creationId xmlns:a16="http://schemas.microsoft.com/office/drawing/2014/main" id="{2DE6C233-101F-9E20-FE68-90494684655B}"/>
              </a:ext>
            </a:extLst>
          </p:cNvPr>
          <p:cNvGraphicFramePr>
            <a:graphicFrameLocks noChangeAspect="1"/>
          </p:cNvGraphicFramePr>
          <p:nvPr>
            <p:custDataLst>
              <p:tags r:id="rId8"/>
            </p:custDataLst>
          </p:nvPr>
        </p:nvGraphicFramePr>
        <p:xfrm>
          <a:off x="915988" y="915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30" name="think-cell data - do not delete" hidden="1">
                        <a:extLst>
                          <a:ext uri="{FF2B5EF4-FFF2-40B4-BE49-F238E27FC236}">
                            <a16:creationId xmlns:a16="http://schemas.microsoft.com/office/drawing/2014/main" id="{2DE6C233-101F-9E20-FE68-90494684655B}"/>
                          </a:ext>
                        </a:extLst>
                      </p:cNvPr>
                      <p:cNvPicPr/>
                      <p:nvPr/>
                    </p:nvPicPr>
                    <p:blipFill>
                      <a:blip r:embed="rId15"/>
                      <a:stretch>
                        <a:fillRect/>
                      </a:stretch>
                    </p:blipFill>
                    <p:spPr>
                      <a:xfrm>
                        <a:off x="915988" y="915988"/>
                        <a:ext cx="1588" cy="1588"/>
                      </a:xfrm>
                      <a:prstGeom prst="rect">
                        <a:avLst/>
                      </a:prstGeom>
                    </p:spPr>
                  </p:pic>
                </p:oleObj>
              </mc:Fallback>
            </mc:AlternateContent>
          </a:graphicData>
        </a:graphic>
      </p:graphicFrame>
      <p:sp>
        <p:nvSpPr>
          <p:cNvPr id="31" name="Oval 20">
            <a:extLst>
              <a:ext uri="{FF2B5EF4-FFF2-40B4-BE49-F238E27FC236}">
                <a16:creationId xmlns:a16="http://schemas.microsoft.com/office/drawing/2014/main" id="{DE9FFB31-8A68-C860-1534-3DF11CBD6BDE}"/>
              </a:ext>
            </a:extLst>
          </p:cNvPr>
          <p:cNvSpPr>
            <a:spLocks noChangeAspect="1" noChangeArrowheads="1"/>
          </p:cNvSpPr>
          <p:nvPr/>
        </p:nvSpPr>
        <p:spPr bwMode="auto">
          <a:xfrm>
            <a:off x="4673724" y="213946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1</a:t>
            </a:r>
          </a:p>
        </p:txBody>
      </p:sp>
      <p:sp>
        <p:nvSpPr>
          <p:cNvPr id="4" name="Oval 20">
            <a:extLst>
              <a:ext uri="{FF2B5EF4-FFF2-40B4-BE49-F238E27FC236}">
                <a16:creationId xmlns:a16="http://schemas.microsoft.com/office/drawing/2014/main" id="{5B2024FA-9146-30CA-F0DD-3B2329190BA8}"/>
              </a:ext>
            </a:extLst>
          </p:cNvPr>
          <p:cNvSpPr>
            <a:spLocks noChangeAspect="1" noChangeArrowheads="1"/>
          </p:cNvSpPr>
          <p:nvPr/>
        </p:nvSpPr>
        <p:spPr bwMode="auto">
          <a:xfrm>
            <a:off x="4673724" y="432324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4</a:t>
            </a:r>
          </a:p>
        </p:txBody>
      </p:sp>
    </p:spTree>
    <p:extLst>
      <p:ext uri="{BB962C8B-B14F-4D97-AF65-F5344CB8AC3E}">
        <p14:creationId xmlns:p14="http://schemas.microsoft.com/office/powerpoint/2010/main" val="13836495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D243604-B312-99D4-BC2E-B5CCB1A969A1}"/>
              </a:ext>
            </a:extLst>
          </p:cNvPr>
          <p:cNvGraphicFramePr>
            <a:graphicFrameLocks noChangeAspect="1"/>
          </p:cNvGraphicFramePr>
          <p:nvPr>
            <p:custDataLst>
              <p:tags r:id="rId2"/>
            </p:custDataLst>
            <p:extLst>
              <p:ext uri="{D42A27DB-BD31-4B8C-83A1-F6EECF244321}">
                <p14:modId xmlns:p14="http://schemas.microsoft.com/office/powerpoint/2010/main" val="170048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8" name="think-cell data - do not delete" hidden="1">
                        <a:extLst>
                          <a:ext uri="{FF2B5EF4-FFF2-40B4-BE49-F238E27FC236}">
                            <a16:creationId xmlns:a16="http://schemas.microsoft.com/office/drawing/2014/main" id="{BD243604-B312-99D4-BC2E-B5CCB1A969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ight Triangle 12">
            <a:extLst>
              <a:ext uri="{FF2B5EF4-FFF2-40B4-BE49-F238E27FC236}">
                <a16:creationId xmlns:a16="http://schemas.microsoft.com/office/drawing/2014/main" id="{52F89B12-6263-6583-0929-B5BAB6F1437D}"/>
              </a:ext>
            </a:extLst>
          </p:cNvPr>
          <p:cNvSpPr/>
          <p:nvPr/>
        </p:nvSpPr>
        <p:spPr>
          <a:xfrm flipH="1">
            <a:off x="630000" y="1656752"/>
            <a:ext cx="146938" cy="131987"/>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 name="Right Triangle 13">
            <a:extLst>
              <a:ext uri="{FF2B5EF4-FFF2-40B4-BE49-F238E27FC236}">
                <a16:creationId xmlns:a16="http://schemas.microsoft.com/office/drawing/2014/main" id="{93E7B681-758F-986C-A50F-9BA3D5EA6296}"/>
              </a:ext>
            </a:extLst>
          </p:cNvPr>
          <p:cNvSpPr/>
          <p:nvPr/>
        </p:nvSpPr>
        <p:spPr>
          <a:xfrm>
            <a:off x="5320609" y="1656752"/>
            <a:ext cx="146938" cy="131987"/>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Right Triangle 14">
            <a:extLst>
              <a:ext uri="{FF2B5EF4-FFF2-40B4-BE49-F238E27FC236}">
                <a16:creationId xmlns:a16="http://schemas.microsoft.com/office/drawing/2014/main" id="{937151A9-2E7D-F14C-907D-261969792A97}"/>
              </a:ext>
            </a:extLst>
          </p:cNvPr>
          <p:cNvSpPr/>
          <p:nvPr/>
        </p:nvSpPr>
        <p:spPr>
          <a:xfrm>
            <a:off x="11416412" y="1656752"/>
            <a:ext cx="146938" cy="131987"/>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Right Triangle 15">
            <a:extLst>
              <a:ext uri="{FF2B5EF4-FFF2-40B4-BE49-F238E27FC236}">
                <a16:creationId xmlns:a16="http://schemas.microsoft.com/office/drawing/2014/main" id="{BB787C7B-1503-56B6-00E5-14179528D621}"/>
              </a:ext>
            </a:extLst>
          </p:cNvPr>
          <p:cNvSpPr/>
          <p:nvPr/>
        </p:nvSpPr>
        <p:spPr>
          <a:xfrm flipH="1">
            <a:off x="5872899" y="1656752"/>
            <a:ext cx="146938" cy="131987"/>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 name="TextBox 16">
            <a:extLst>
              <a:ext uri="{FF2B5EF4-FFF2-40B4-BE49-F238E27FC236}">
                <a16:creationId xmlns:a16="http://schemas.microsoft.com/office/drawing/2014/main" id="{07574988-920F-4596-CAAF-E6A026A6B9E5}"/>
              </a:ext>
            </a:extLst>
          </p:cNvPr>
          <p:cNvSpPr txBox="1"/>
          <p:nvPr/>
        </p:nvSpPr>
        <p:spPr>
          <a:xfrm>
            <a:off x="766970" y="1412910"/>
            <a:ext cx="4563608" cy="375829"/>
          </a:xfrm>
          <a:prstGeom prst="round2SameRect">
            <a:avLst>
              <a:gd name="adj1" fmla="val 17031"/>
              <a:gd name="adj2" fmla="val 0"/>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a:solidFill>
                  <a:srgbClr val="FFFFFF"/>
                </a:solidFill>
              </a:rPr>
              <a:t>Map of Tranche-2 </a:t>
            </a:r>
            <a:r>
              <a:rPr lang="en-US" err="1">
                <a:solidFill>
                  <a:srgbClr val="FFFFFF"/>
                </a:solidFill>
              </a:rPr>
              <a:t>CBG</a:t>
            </a:r>
            <a:r>
              <a:rPr lang="en-US">
                <a:solidFill>
                  <a:srgbClr val="FFFFFF"/>
                </a:solidFill>
              </a:rPr>
              <a:t> results</a:t>
            </a:r>
          </a:p>
        </p:txBody>
      </p:sp>
      <p:sp>
        <p:nvSpPr>
          <p:cNvPr id="18" name="TextBox 17">
            <a:extLst>
              <a:ext uri="{FF2B5EF4-FFF2-40B4-BE49-F238E27FC236}">
                <a16:creationId xmlns:a16="http://schemas.microsoft.com/office/drawing/2014/main" id="{9DF19559-78A0-AB8B-89BC-ACBD6F498E99}"/>
              </a:ext>
            </a:extLst>
          </p:cNvPr>
          <p:cNvSpPr txBox="1"/>
          <p:nvPr/>
        </p:nvSpPr>
        <p:spPr>
          <a:xfrm flipV="1">
            <a:off x="754666" y="2002364"/>
            <a:ext cx="4588216" cy="3777397"/>
          </a:xfrm>
          <a:prstGeom prst="round2SameRect">
            <a:avLst>
              <a:gd name="adj1" fmla="val 1666"/>
              <a:gd name="adj2" fmla="val 0"/>
            </a:avLst>
          </a:prstGeom>
          <a:solidFill>
            <a:schemeClr val="tx2"/>
          </a:solidFill>
          <a:ln w="9525" cap="rnd">
            <a:solidFill>
              <a:srgbClr val="1A5BA7"/>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a:solidFill>
                <a:schemeClr val="accent3"/>
              </a:solidFill>
            </a:endParaRPr>
          </a:p>
        </p:txBody>
      </p:sp>
      <p:sp>
        <p:nvSpPr>
          <p:cNvPr id="19" name="TextBox 18">
            <a:extLst>
              <a:ext uri="{FF2B5EF4-FFF2-40B4-BE49-F238E27FC236}">
                <a16:creationId xmlns:a16="http://schemas.microsoft.com/office/drawing/2014/main" id="{D2410B2A-F5FB-06CB-78E5-0CBAE3D6CC9D}"/>
              </a:ext>
            </a:extLst>
          </p:cNvPr>
          <p:cNvSpPr txBox="1"/>
          <p:nvPr/>
        </p:nvSpPr>
        <p:spPr>
          <a:xfrm flipV="1">
            <a:off x="630001" y="1788737"/>
            <a:ext cx="4837546" cy="3953320"/>
          </a:xfrm>
          <a:prstGeom prst="round2SameRect">
            <a:avLst>
              <a:gd name="adj1" fmla="val 1666"/>
              <a:gd name="adj2" fmla="val 0"/>
            </a:avLst>
          </a:prstGeom>
          <a:solidFill>
            <a:srgbClr val="FFFFFF"/>
          </a:solidFill>
          <a:ln w="9525" cap="rnd">
            <a:solidFill>
              <a:srgbClr val="1A5BA7"/>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a:solidFill>
                <a:schemeClr val="accent3"/>
              </a:solidFill>
            </a:endParaRPr>
          </a:p>
        </p:txBody>
      </p:sp>
      <p:sp>
        <p:nvSpPr>
          <p:cNvPr id="20" name="TextBox 19">
            <a:extLst>
              <a:ext uri="{FF2B5EF4-FFF2-40B4-BE49-F238E27FC236}">
                <a16:creationId xmlns:a16="http://schemas.microsoft.com/office/drawing/2014/main" id="{E11B2AEA-0046-C91F-C34B-FBFC951F636C}"/>
              </a:ext>
            </a:extLst>
          </p:cNvPr>
          <p:cNvSpPr txBox="1"/>
          <p:nvPr/>
        </p:nvSpPr>
        <p:spPr>
          <a:xfrm flipV="1">
            <a:off x="6082407" y="2002364"/>
            <a:ext cx="5271438" cy="3777397"/>
          </a:xfrm>
          <a:prstGeom prst="round2SameRect">
            <a:avLst>
              <a:gd name="adj1" fmla="val 1680"/>
              <a:gd name="adj2" fmla="val 0"/>
            </a:avLst>
          </a:prstGeom>
          <a:solidFill>
            <a:schemeClr val="tx2"/>
          </a:solidFill>
          <a:ln w="9525" cap="rnd">
            <a:solidFill>
              <a:srgbClr val="1A5BA7"/>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a:solidFill>
                <a:schemeClr val="accent3"/>
              </a:solidFill>
            </a:endParaRPr>
          </a:p>
        </p:txBody>
      </p:sp>
      <p:sp>
        <p:nvSpPr>
          <p:cNvPr id="21" name="TextBox 20">
            <a:extLst>
              <a:ext uri="{FF2B5EF4-FFF2-40B4-BE49-F238E27FC236}">
                <a16:creationId xmlns:a16="http://schemas.microsoft.com/office/drawing/2014/main" id="{CB351C80-930F-F8B6-A3EA-B2F7B5CD6F88}"/>
              </a:ext>
            </a:extLst>
          </p:cNvPr>
          <p:cNvSpPr txBox="1"/>
          <p:nvPr/>
        </p:nvSpPr>
        <p:spPr>
          <a:xfrm flipV="1">
            <a:off x="5872898" y="1788737"/>
            <a:ext cx="5690452" cy="3953320"/>
          </a:xfrm>
          <a:prstGeom prst="round2SameRect">
            <a:avLst>
              <a:gd name="adj1" fmla="val 1708"/>
              <a:gd name="adj2" fmla="val 0"/>
            </a:avLst>
          </a:prstGeom>
          <a:solidFill>
            <a:srgbClr val="FFFFFF"/>
          </a:solidFill>
          <a:ln w="9525" cap="rnd">
            <a:solidFill>
              <a:srgbClr val="1A5BA7"/>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a:solidFill>
                <a:schemeClr val="accent3"/>
              </a:solidFill>
            </a:endParaRPr>
          </a:p>
        </p:txBody>
      </p:sp>
      <p:sp>
        <p:nvSpPr>
          <p:cNvPr id="22" name="TextBox 21">
            <a:extLst>
              <a:ext uri="{FF2B5EF4-FFF2-40B4-BE49-F238E27FC236}">
                <a16:creationId xmlns:a16="http://schemas.microsoft.com/office/drawing/2014/main" id="{7C4D1995-20D6-7908-A5CB-29F20716F2F6}"/>
              </a:ext>
            </a:extLst>
          </p:cNvPr>
          <p:cNvSpPr txBox="1"/>
          <p:nvPr/>
        </p:nvSpPr>
        <p:spPr>
          <a:xfrm>
            <a:off x="6014583" y="1412910"/>
            <a:ext cx="5407085" cy="375829"/>
          </a:xfrm>
          <a:prstGeom prst="round2SameRect">
            <a:avLst>
              <a:gd name="adj1" fmla="val 17031"/>
              <a:gd name="adj2" fmla="val 0"/>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err="1">
                <a:solidFill>
                  <a:srgbClr val="FFFFFF"/>
                </a:solidFill>
              </a:rPr>
              <a:t>CBG</a:t>
            </a:r>
            <a:r>
              <a:rPr lang="en-US">
                <a:solidFill>
                  <a:srgbClr val="FFFFFF"/>
                </a:solidFill>
              </a:rPr>
              <a:t> statuses following Tranche-2</a:t>
            </a:r>
          </a:p>
        </p:txBody>
      </p:sp>
      <p:sp>
        <p:nvSpPr>
          <p:cNvPr id="2" name="Title 1">
            <a:extLst>
              <a:ext uri="{FF2B5EF4-FFF2-40B4-BE49-F238E27FC236}">
                <a16:creationId xmlns:a16="http://schemas.microsoft.com/office/drawing/2014/main" id="{DC404FFE-062A-D2A1-3C87-83DC74BE03E2}"/>
              </a:ext>
            </a:extLst>
          </p:cNvPr>
          <p:cNvSpPr>
            <a:spLocks noGrp="1"/>
          </p:cNvSpPr>
          <p:nvPr>
            <p:ph type="title"/>
          </p:nvPr>
        </p:nvSpPr>
        <p:spPr>
          <a:xfrm>
            <a:off x="630238" y="622300"/>
            <a:ext cx="10933112" cy="664797"/>
          </a:xfrm>
        </p:spPr>
        <p:txBody>
          <a:bodyPr vert="horz"/>
          <a:lstStyle/>
          <a:p>
            <a:r>
              <a:rPr lang="en-US" dirty="0"/>
              <a:t>Prior to opening Tranche-3, the </a:t>
            </a:r>
            <a:r>
              <a:rPr lang="en-US" dirty="0" err="1"/>
              <a:t>CBG</a:t>
            </a:r>
            <a:r>
              <a:rPr lang="en-US" dirty="0"/>
              <a:t> claims map will be updated to reflect the outcomes of the Partial Award Eligible Process and any rescinded selections</a:t>
            </a:r>
          </a:p>
        </p:txBody>
      </p:sp>
      <p:sp>
        <p:nvSpPr>
          <p:cNvPr id="29" name="TextBox 28">
            <a:extLst>
              <a:ext uri="{FF2B5EF4-FFF2-40B4-BE49-F238E27FC236}">
                <a16:creationId xmlns:a16="http://schemas.microsoft.com/office/drawing/2014/main" id="{A4AD0863-8733-E755-20F2-21B88CAC49BF}"/>
              </a:ext>
            </a:extLst>
          </p:cNvPr>
          <p:cNvSpPr txBox="1"/>
          <p:nvPr/>
        </p:nvSpPr>
        <p:spPr>
          <a:xfrm>
            <a:off x="6023728" y="4070455"/>
            <a:ext cx="5420632"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20040" lvl="1" indent="-219456">
              <a:buClr>
                <a:srgbClr val="1A5BA7"/>
              </a:buClr>
              <a:buFont typeface="Arial" panose="020B0604020202020204" pitchFamily="34" charset="0"/>
              <a:buChar char="•"/>
            </a:pPr>
            <a:r>
              <a:rPr lang="en-US" sz="1600">
                <a:solidFill>
                  <a:schemeClr val="tx2"/>
                </a:solidFill>
              </a:rPr>
              <a:t>Available</a:t>
            </a:r>
          </a:p>
          <a:p>
            <a:pPr marL="648970" lvl="2" indent="-219075">
              <a:buClr>
                <a:srgbClr val="1A5BA7"/>
              </a:buClr>
              <a:buFont typeface="Arial" panose="020B0604020202020204" pitchFamily="34" charset="0"/>
              <a:buChar char="–"/>
            </a:pPr>
            <a:r>
              <a:rPr lang="en-US" sz="1600" err="1">
                <a:solidFill>
                  <a:srgbClr val="000000"/>
                </a:solidFill>
                <a:ea typeface="+mn-lt"/>
                <a:cs typeface="+mn-lt"/>
              </a:rPr>
              <a:t>CBGs</a:t>
            </a:r>
            <a:r>
              <a:rPr lang="en-US" sz="1600">
                <a:solidFill>
                  <a:srgbClr val="000000"/>
                </a:solidFill>
                <a:ea typeface="+mn-lt"/>
                <a:cs typeface="+mn-lt"/>
              </a:rPr>
              <a:t> that will be available for bidding in Tranche-3</a:t>
            </a:r>
            <a:endParaRPr lang="en-US" sz="1600">
              <a:solidFill>
                <a:srgbClr val="000000"/>
              </a:solidFill>
              <a:cs typeface="Arial"/>
            </a:endParaRPr>
          </a:p>
        </p:txBody>
      </p:sp>
      <p:sp>
        <p:nvSpPr>
          <p:cNvPr id="33" name="Rectangle: Rounded Corners 32">
            <a:extLst>
              <a:ext uri="{FF2B5EF4-FFF2-40B4-BE49-F238E27FC236}">
                <a16:creationId xmlns:a16="http://schemas.microsoft.com/office/drawing/2014/main" id="{04EF4C1B-8C82-F165-F764-DE6D29AC32B4}"/>
              </a:ext>
            </a:extLst>
          </p:cNvPr>
          <p:cNvSpPr/>
          <p:nvPr/>
        </p:nvSpPr>
        <p:spPr>
          <a:xfrm>
            <a:off x="5991280" y="4120624"/>
            <a:ext cx="233079" cy="145326"/>
          </a:xfrm>
          <a:prstGeom prst="roundRect">
            <a:avLst/>
          </a:prstGeom>
          <a:solidFill>
            <a:srgbClr val="79C422"/>
          </a:solidFill>
          <a:ln w="63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TextBox 29">
            <a:extLst>
              <a:ext uri="{FF2B5EF4-FFF2-40B4-BE49-F238E27FC236}">
                <a16:creationId xmlns:a16="http://schemas.microsoft.com/office/drawing/2014/main" id="{E1AA63A3-5C4B-62E0-EF3E-BFA4372327E7}"/>
              </a:ext>
            </a:extLst>
          </p:cNvPr>
          <p:cNvSpPr txBox="1"/>
          <p:nvPr/>
        </p:nvSpPr>
        <p:spPr>
          <a:xfrm>
            <a:off x="6023728" y="4758128"/>
            <a:ext cx="5420632"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20040" lvl="1" indent="-219456">
              <a:buClr>
                <a:srgbClr val="1A5BA7"/>
              </a:buClr>
              <a:buFont typeface="Arial" panose="020B0604020202020204" pitchFamily="34" charset="0"/>
              <a:buChar char="•"/>
            </a:pPr>
            <a:r>
              <a:rPr lang="en-US" sz="1600">
                <a:solidFill>
                  <a:schemeClr val="tx2"/>
                </a:solidFill>
              </a:rPr>
              <a:t>Ineligible</a:t>
            </a:r>
          </a:p>
          <a:p>
            <a:pPr marL="649224" lvl="2" indent="-219456">
              <a:buClr>
                <a:srgbClr val="1A5BA7"/>
              </a:buClr>
              <a:buFont typeface="Arial" panose="020B0604020202020204" pitchFamily="34" charset="0"/>
              <a:buChar char="–"/>
            </a:pPr>
            <a:r>
              <a:rPr lang="en-US" sz="1600" err="1">
                <a:solidFill>
                  <a:srgbClr val="000000"/>
                </a:solidFill>
              </a:rPr>
              <a:t>CBGs</a:t>
            </a:r>
            <a:r>
              <a:rPr lang="en-US" sz="1600">
                <a:solidFill>
                  <a:srgbClr val="000000"/>
                </a:solidFill>
              </a:rPr>
              <a:t> that contain 100% served locations and are unavailable for bidding</a:t>
            </a:r>
          </a:p>
        </p:txBody>
      </p:sp>
      <p:sp>
        <p:nvSpPr>
          <p:cNvPr id="35" name="Rectangle: Rounded Corners 34">
            <a:extLst>
              <a:ext uri="{FF2B5EF4-FFF2-40B4-BE49-F238E27FC236}">
                <a16:creationId xmlns:a16="http://schemas.microsoft.com/office/drawing/2014/main" id="{DF5DB4D3-FD3E-961A-9F41-653C068A2102}"/>
              </a:ext>
            </a:extLst>
          </p:cNvPr>
          <p:cNvSpPr/>
          <p:nvPr/>
        </p:nvSpPr>
        <p:spPr>
          <a:xfrm>
            <a:off x="5991280" y="4805753"/>
            <a:ext cx="233079" cy="145326"/>
          </a:xfrm>
          <a:prstGeom prst="roundRect">
            <a:avLst/>
          </a:prstGeom>
          <a:solidFill>
            <a:srgbClr val="A0ABBB"/>
          </a:solidFill>
          <a:ln w="63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extBox 25">
            <a:extLst>
              <a:ext uri="{FF2B5EF4-FFF2-40B4-BE49-F238E27FC236}">
                <a16:creationId xmlns:a16="http://schemas.microsoft.com/office/drawing/2014/main" id="{FC11905B-A9A6-0CCA-B46C-F529695794F6}"/>
              </a:ext>
            </a:extLst>
          </p:cNvPr>
          <p:cNvSpPr txBox="1"/>
          <p:nvPr/>
        </p:nvSpPr>
        <p:spPr>
          <a:xfrm>
            <a:off x="6023728" y="1956446"/>
            <a:ext cx="5420632"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20040" lvl="1" indent="-219456">
              <a:buClr>
                <a:srgbClr val="1A5BA7"/>
              </a:buClr>
              <a:buFont typeface="Arial" panose="020B0604020202020204" pitchFamily="34" charset="0"/>
              <a:buChar char="•"/>
            </a:pPr>
            <a:r>
              <a:rPr lang="en-US" sz="1600">
                <a:solidFill>
                  <a:schemeClr val="tx2"/>
                </a:solidFill>
                <a:sym typeface="Trebuchet MS" panose="020B0603020202020204" pitchFamily="34" charset="0"/>
              </a:rPr>
              <a:t>Preliminarily Selected (unavailable)</a:t>
            </a:r>
          </a:p>
          <a:p>
            <a:pPr marL="649224" lvl="2" indent="-219456">
              <a:buClr>
                <a:srgbClr val="1A5BA7"/>
              </a:buClr>
              <a:buFont typeface="Arial" panose="020B0604020202020204" pitchFamily="34" charset="0"/>
              <a:buChar char="–"/>
            </a:pPr>
            <a:r>
              <a:rPr lang="en-US" sz="1600" err="1">
                <a:solidFill>
                  <a:srgbClr val="000000"/>
                </a:solidFill>
                <a:sym typeface="Trebuchet MS" panose="020B0603020202020204" pitchFamily="34" charset="0"/>
              </a:rPr>
              <a:t>CBGs</a:t>
            </a:r>
            <a:r>
              <a:rPr lang="en-US" sz="1600">
                <a:solidFill>
                  <a:srgbClr val="000000"/>
                </a:solidFill>
                <a:sym typeface="Trebuchet MS" panose="020B0603020202020204" pitchFamily="34" charset="0"/>
              </a:rPr>
              <a:t> that were preliminarily selected in T1 or T2 and are no longer available for bidding</a:t>
            </a:r>
          </a:p>
        </p:txBody>
      </p:sp>
      <p:sp>
        <p:nvSpPr>
          <p:cNvPr id="40" name="Rectangle: Rounded Corners 39">
            <a:extLst>
              <a:ext uri="{FF2B5EF4-FFF2-40B4-BE49-F238E27FC236}">
                <a16:creationId xmlns:a16="http://schemas.microsoft.com/office/drawing/2014/main" id="{468FE0A4-85B1-59E1-059B-71D278FC6A24}"/>
              </a:ext>
            </a:extLst>
          </p:cNvPr>
          <p:cNvSpPr/>
          <p:nvPr/>
        </p:nvSpPr>
        <p:spPr>
          <a:xfrm>
            <a:off x="5991280" y="2011913"/>
            <a:ext cx="233079" cy="145326"/>
          </a:xfrm>
          <a:prstGeom prst="roundRect">
            <a:avLst/>
          </a:prstGeom>
          <a:solidFill>
            <a:srgbClr val="FB0278"/>
          </a:solidFill>
          <a:ln w="63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5" name="TextBox 54">
            <a:extLst>
              <a:ext uri="{FF2B5EF4-FFF2-40B4-BE49-F238E27FC236}">
                <a16:creationId xmlns:a16="http://schemas.microsoft.com/office/drawing/2014/main" id="{339D31C7-66CE-2342-4B4F-66B5AB058A30}"/>
              </a:ext>
            </a:extLst>
          </p:cNvPr>
          <p:cNvSpPr txBox="1"/>
          <p:nvPr/>
        </p:nvSpPr>
        <p:spPr>
          <a:xfrm>
            <a:off x="6023728" y="2890340"/>
            <a:ext cx="5420632" cy="9848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20040" lvl="1" indent="-219456">
              <a:buClr>
                <a:srgbClr val="1A5BA7"/>
              </a:buClr>
              <a:buFont typeface="Arial" panose="020B0604020202020204" pitchFamily="34" charset="0"/>
              <a:buChar char="•"/>
            </a:pPr>
            <a:r>
              <a:rPr lang="en-US" sz="1600">
                <a:solidFill>
                  <a:schemeClr val="tx2"/>
                </a:solidFill>
              </a:rPr>
              <a:t>Available Partial Award Eligible</a:t>
            </a:r>
          </a:p>
          <a:p>
            <a:pPr marL="648970" lvl="2" indent="-219075">
              <a:buClr>
                <a:srgbClr val="1A5BA7"/>
              </a:buClr>
              <a:buFont typeface="Arial" panose="020B0604020202020204" pitchFamily="34" charset="0"/>
              <a:buChar char="–"/>
            </a:pPr>
            <a:r>
              <a:rPr lang="en-US" sz="1600" err="1">
                <a:solidFill>
                  <a:srgbClr val="000000"/>
                </a:solidFill>
                <a:ea typeface="+mn-lt"/>
                <a:cs typeface="+mn-lt"/>
              </a:rPr>
              <a:t>CBGs</a:t>
            </a:r>
            <a:r>
              <a:rPr lang="en-US" sz="1600">
                <a:solidFill>
                  <a:srgbClr val="000000"/>
                </a:solidFill>
                <a:ea typeface="+mn-lt"/>
                <a:cs typeface="+mn-lt"/>
              </a:rPr>
              <a:t> that received bids in Tranche-2 but were not preliminarily selected and will be offered at prorated subsidies to their sole bidders</a:t>
            </a:r>
            <a:endParaRPr lang="en-US" sz="1600">
              <a:solidFill>
                <a:srgbClr val="000000"/>
              </a:solidFill>
              <a:cs typeface="Arial"/>
            </a:endParaRPr>
          </a:p>
        </p:txBody>
      </p:sp>
      <p:sp>
        <p:nvSpPr>
          <p:cNvPr id="56" name="Rectangle: Rounded Corners 55">
            <a:extLst>
              <a:ext uri="{FF2B5EF4-FFF2-40B4-BE49-F238E27FC236}">
                <a16:creationId xmlns:a16="http://schemas.microsoft.com/office/drawing/2014/main" id="{8FE30164-3344-EFBD-A513-C0DE77520956}"/>
              </a:ext>
            </a:extLst>
          </p:cNvPr>
          <p:cNvSpPr/>
          <p:nvPr/>
        </p:nvSpPr>
        <p:spPr>
          <a:xfrm>
            <a:off x="5991280" y="2943091"/>
            <a:ext cx="233079" cy="145326"/>
          </a:xfrm>
          <a:prstGeom prst="roundRect">
            <a:avLst/>
          </a:prstGeom>
          <a:solidFill>
            <a:srgbClr val="00B0F0"/>
          </a:solidFill>
          <a:ln w="635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pic>
        <p:nvPicPr>
          <p:cNvPr id="23" name="Picture 22">
            <a:extLst>
              <a:ext uri="{FF2B5EF4-FFF2-40B4-BE49-F238E27FC236}">
                <a16:creationId xmlns:a16="http://schemas.microsoft.com/office/drawing/2014/main" id="{21D26EA6-8ADD-D5E9-AE78-32AC943633D3}"/>
              </a:ext>
            </a:extLst>
          </p:cNvPr>
          <p:cNvPicPr>
            <a:picLocks noChangeAspect="1"/>
          </p:cNvPicPr>
          <p:nvPr/>
        </p:nvPicPr>
        <p:blipFill>
          <a:blip r:embed="rId7"/>
          <a:stretch>
            <a:fillRect/>
          </a:stretch>
        </p:blipFill>
        <p:spPr>
          <a:xfrm>
            <a:off x="967875" y="1895935"/>
            <a:ext cx="4148731" cy="3588092"/>
          </a:xfrm>
          <a:prstGeom prst="rect">
            <a:avLst/>
          </a:prstGeom>
        </p:spPr>
      </p:pic>
      <p:sp>
        <p:nvSpPr>
          <p:cNvPr id="31" name="Rectangle 30">
            <a:extLst>
              <a:ext uri="{FF2B5EF4-FFF2-40B4-BE49-F238E27FC236}">
                <a16:creationId xmlns:a16="http://schemas.microsoft.com/office/drawing/2014/main" id="{647DCA9A-7490-830F-A665-425DF123C2C6}"/>
              </a:ext>
            </a:extLst>
          </p:cNvPr>
          <p:cNvSpPr/>
          <p:nvPr/>
        </p:nvSpPr>
        <p:spPr>
          <a:xfrm>
            <a:off x="629325" y="5879577"/>
            <a:ext cx="10874557" cy="367873"/>
          </a:xfrm>
          <a:prstGeom prst="rect">
            <a:avLst/>
          </a:prstGeom>
          <a:solidFill>
            <a:srgbClr val="FFFFFF"/>
          </a:solidFill>
          <a:ln w="19050" cap="rnd" cmpd="sng" algn="ctr">
            <a:solidFill>
              <a:srgbClr val="1A5BA7"/>
            </a:solidFill>
            <a:prstDash val="solid"/>
            <a:round/>
            <a:headEnd type="none" w="med" len="med"/>
            <a:tailEnd type="none" w="med" len="med"/>
          </a:ln>
          <a:effectLst/>
        </p:spPr>
        <p:txBody>
          <a:bodyPr lIns="91440" tIns="45720" rIns="91440" bIns="45720" rtlCol="0" anchor="ctr" anchorCtr="0">
            <a:noAutofit/>
          </a:bodyPr>
          <a:lstStyle/>
          <a:p>
            <a:pPr>
              <a:defRPr/>
            </a:pPr>
            <a:r>
              <a:rPr lang="en-US" sz="1400" b="1" dirty="0">
                <a:solidFill>
                  <a:schemeClr val="tx2"/>
                </a:solidFill>
                <a:latin typeface="+mj-lt"/>
              </a:rPr>
              <a:t>Note |</a:t>
            </a:r>
            <a:r>
              <a:rPr lang="en-US" sz="1400" dirty="0">
                <a:latin typeface="+mj-lt"/>
              </a:rPr>
              <a:t> All </a:t>
            </a:r>
            <a:r>
              <a:rPr lang="en-US" sz="1400" dirty="0" err="1">
                <a:latin typeface="+mj-lt"/>
              </a:rPr>
              <a:t>CBGs</a:t>
            </a:r>
            <a:r>
              <a:rPr lang="en-US" sz="1400" dirty="0">
                <a:latin typeface="+mj-lt"/>
              </a:rPr>
              <a:t> currently labelled as </a:t>
            </a:r>
            <a:r>
              <a:rPr lang="en-US" sz="1400" dirty="0">
                <a:solidFill>
                  <a:srgbClr val="00B0F0"/>
                </a:solidFill>
                <a:latin typeface="+mj-lt"/>
              </a:rPr>
              <a:t>Available Partial Award Eligible</a:t>
            </a:r>
            <a:r>
              <a:rPr lang="en-US" sz="1400" dirty="0">
                <a:latin typeface="+mj-lt"/>
              </a:rPr>
              <a:t> will either be shown as </a:t>
            </a:r>
            <a:r>
              <a:rPr lang="en-US" sz="1400" dirty="0">
                <a:solidFill>
                  <a:srgbClr val="79C422"/>
                </a:solidFill>
                <a:latin typeface="+mj-lt"/>
              </a:rPr>
              <a:t>Available</a:t>
            </a:r>
            <a:r>
              <a:rPr lang="en-US" sz="1400" dirty="0">
                <a:latin typeface="+mj-lt"/>
              </a:rPr>
              <a:t> or </a:t>
            </a:r>
            <a:r>
              <a:rPr lang="en-US" sz="1400" dirty="0">
                <a:solidFill>
                  <a:srgbClr val="FB0278"/>
                </a:solidFill>
                <a:latin typeface="+mj-lt"/>
              </a:rPr>
              <a:t>Preliminarily Selected</a:t>
            </a:r>
            <a:endParaRPr lang="en-US" sz="1400" dirty="0">
              <a:latin typeface="+mj-lt"/>
            </a:endParaRPr>
          </a:p>
        </p:txBody>
      </p:sp>
      <p:sp>
        <p:nvSpPr>
          <p:cNvPr id="42" name="Rectangle 41">
            <a:extLst>
              <a:ext uri="{FF2B5EF4-FFF2-40B4-BE49-F238E27FC236}">
                <a16:creationId xmlns:a16="http://schemas.microsoft.com/office/drawing/2014/main" id="{42466BAF-738A-29F5-2557-A5D6A6119D23}"/>
              </a:ext>
            </a:extLst>
          </p:cNvPr>
          <p:cNvSpPr/>
          <p:nvPr/>
        </p:nvSpPr>
        <p:spPr>
          <a:xfrm>
            <a:off x="10916839" y="2910960"/>
            <a:ext cx="660400" cy="1980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44" name="Connector: Elbow 43">
            <a:extLst>
              <a:ext uri="{FF2B5EF4-FFF2-40B4-BE49-F238E27FC236}">
                <a16:creationId xmlns:a16="http://schemas.microsoft.com/office/drawing/2014/main" id="{5F6B8694-4B62-18AC-346C-EE223B6AF180}"/>
              </a:ext>
            </a:extLst>
          </p:cNvPr>
          <p:cNvCxnSpPr>
            <a:cxnSpLocks/>
            <a:stCxn id="42" idx="3"/>
            <a:endCxn id="31" idx="3"/>
          </p:cNvCxnSpPr>
          <p:nvPr/>
        </p:nvCxnSpPr>
        <p:spPr>
          <a:xfrm flipH="1">
            <a:off x="11503882" y="3009999"/>
            <a:ext cx="73357" cy="3053515"/>
          </a:xfrm>
          <a:prstGeom prst="bentConnector3">
            <a:avLst>
              <a:gd name="adj1" fmla="val -311627"/>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C5C11AE-9357-4C08-1A94-813EB9E9B55C}"/>
              </a:ext>
            </a:extLst>
          </p:cNvPr>
          <p:cNvSpPr/>
          <p:nvPr/>
        </p:nvSpPr>
        <p:spPr>
          <a:xfrm>
            <a:off x="629325" y="6354782"/>
            <a:ext cx="10874557" cy="367873"/>
          </a:xfrm>
          <a:prstGeom prst="rect">
            <a:avLst/>
          </a:prstGeom>
          <a:solidFill>
            <a:srgbClr val="FFFFFF"/>
          </a:solidFill>
          <a:ln w="19050" cap="rnd" cmpd="sng" algn="ctr">
            <a:solidFill>
              <a:srgbClr val="1A5BA7"/>
            </a:solidFill>
            <a:prstDash val="solid"/>
            <a:round/>
            <a:headEnd type="none" w="med" len="med"/>
            <a:tailEnd type="none" w="med" len="med"/>
          </a:ln>
          <a:effectLst/>
        </p:spPr>
        <p:txBody>
          <a:bodyPr lIns="91440" tIns="45720" rIns="91440" bIns="45720" rtlCol="0" anchor="ctr" anchorCtr="0">
            <a:noAutofit/>
          </a:bodyPr>
          <a:lstStyle/>
          <a:p>
            <a:pPr>
              <a:defRPr/>
            </a:pPr>
            <a:r>
              <a:rPr lang="en-US" sz="1400" b="1" dirty="0">
                <a:solidFill>
                  <a:schemeClr val="tx2"/>
                </a:solidFill>
                <a:latin typeface="+mj-lt"/>
              </a:rPr>
              <a:t>Note |</a:t>
            </a:r>
            <a:r>
              <a:rPr lang="en-US" sz="1400" dirty="0">
                <a:latin typeface="+mj-lt"/>
              </a:rPr>
              <a:t> If a </a:t>
            </a:r>
            <a:r>
              <a:rPr lang="en-US" sz="1400" dirty="0">
                <a:solidFill>
                  <a:srgbClr val="FB0278"/>
                </a:solidFill>
                <a:latin typeface="+mj-lt"/>
              </a:rPr>
              <a:t>Preliminarily Selected </a:t>
            </a:r>
            <a:r>
              <a:rPr lang="en-US" sz="1400" dirty="0">
                <a:latin typeface="+mj-lt"/>
              </a:rPr>
              <a:t>bid from Tranche-1 or Tranche-2 was rescinded prior to Tranche-3, its </a:t>
            </a:r>
            <a:r>
              <a:rPr lang="en-US" sz="1400" dirty="0" err="1">
                <a:latin typeface="+mj-lt"/>
              </a:rPr>
              <a:t>CBGs</a:t>
            </a:r>
            <a:r>
              <a:rPr lang="en-US" sz="1400" dirty="0">
                <a:latin typeface="+mj-lt"/>
              </a:rPr>
              <a:t> will be shown as </a:t>
            </a:r>
            <a:r>
              <a:rPr lang="en-US" sz="1400" dirty="0">
                <a:solidFill>
                  <a:srgbClr val="79C422"/>
                </a:solidFill>
                <a:latin typeface="+mj-lt"/>
              </a:rPr>
              <a:t>Available</a:t>
            </a:r>
          </a:p>
        </p:txBody>
      </p:sp>
      <p:sp>
        <p:nvSpPr>
          <p:cNvPr id="45" name="Rectangle 44">
            <a:extLst>
              <a:ext uri="{FF2B5EF4-FFF2-40B4-BE49-F238E27FC236}">
                <a16:creationId xmlns:a16="http://schemas.microsoft.com/office/drawing/2014/main" id="{7C9FF30C-0C8C-2ECD-664F-7507BB0EE0D8}"/>
              </a:ext>
            </a:extLst>
          </p:cNvPr>
          <p:cNvSpPr/>
          <p:nvPr/>
        </p:nvSpPr>
        <p:spPr>
          <a:xfrm>
            <a:off x="10916839" y="1985537"/>
            <a:ext cx="660400" cy="19807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cxnSp>
        <p:nvCxnSpPr>
          <p:cNvPr id="48" name="Connector: Elbow 47">
            <a:extLst>
              <a:ext uri="{FF2B5EF4-FFF2-40B4-BE49-F238E27FC236}">
                <a16:creationId xmlns:a16="http://schemas.microsoft.com/office/drawing/2014/main" id="{C25FABDB-455B-56AA-15B6-DC60F1B517E5}"/>
              </a:ext>
            </a:extLst>
          </p:cNvPr>
          <p:cNvCxnSpPr>
            <a:stCxn id="45" idx="3"/>
            <a:endCxn id="36" idx="3"/>
          </p:cNvCxnSpPr>
          <p:nvPr/>
        </p:nvCxnSpPr>
        <p:spPr>
          <a:xfrm flipH="1">
            <a:off x="11503882" y="2084576"/>
            <a:ext cx="73357" cy="4454143"/>
          </a:xfrm>
          <a:prstGeom prst="bentConnector3">
            <a:avLst>
              <a:gd name="adj1" fmla="val -529993"/>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499924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098C3-2C25-504A-50E7-BF7F62DC097D}"/>
            </a:ext>
          </a:extLst>
        </p:cNvPr>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AF74F31D-1ADB-8A4D-5020-2ADACF8ABE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1" imgH="472" progId="TCLayout.ActiveDocument.1">
                  <p:embed/>
                </p:oleObj>
              </mc:Choice>
              <mc:Fallback>
                <p:oleObj name="think-cell Slide" r:id="rId11" imgW="471" imgH="472" progId="TCLayout.ActiveDocument.1">
                  <p:embed/>
                  <p:pic>
                    <p:nvPicPr>
                      <p:cNvPr id="38" name="Object 37" hidden="1">
                        <a:extLst>
                          <a:ext uri="{FF2B5EF4-FFF2-40B4-BE49-F238E27FC236}">
                            <a16:creationId xmlns:a16="http://schemas.microsoft.com/office/drawing/2014/main" id="{AF74F31D-1ADB-8A4D-5020-2ADACF8ABE4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graphicFrame>
        <p:nvGraphicFramePr>
          <p:cNvPr id="9" name="Table 8">
            <a:extLst>
              <a:ext uri="{FF2B5EF4-FFF2-40B4-BE49-F238E27FC236}">
                <a16:creationId xmlns:a16="http://schemas.microsoft.com/office/drawing/2014/main" id="{0FD340E2-24A4-8884-1880-E7D4BA51E0E9}"/>
              </a:ext>
            </a:extLst>
          </p:cNvPr>
          <p:cNvGraphicFramePr>
            <a:graphicFrameLocks noGrp="1"/>
          </p:cNvGraphicFramePr>
          <p:nvPr>
            <p:extLst>
              <p:ext uri="{D42A27DB-BD31-4B8C-83A1-F6EECF244321}">
                <p14:modId xmlns:p14="http://schemas.microsoft.com/office/powerpoint/2010/main" val="3531136205"/>
              </p:ext>
            </p:extLst>
          </p:nvPr>
        </p:nvGraphicFramePr>
        <p:xfrm>
          <a:off x="4570040" y="1973150"/>
          <a:ext cx="6991960" cy="2911700"/>
        </p:xfrm>
        <a:graphic>
          <a:graphicData uri="http://schemas.openxmlformats.org/drawingml/2006/table">
            <a:tbl>
              <a:tblPr firstRow="1">
                <a:tableStyleId>{2D5ABB26-0587-4C30-8999-92F81FD0307C}</a:tableStyleId>
              </a:tblPr>
              <a:tblGrid>
                <a:gridCol w="602661">
                  <a:extLst>
                    <a:ext uri="{9D8B030D-6E8A-4147-A177-3AD203B41FA5}">
                      <a16:colId xmlns:a16="http://schemas.microsoft.com/office/drawing/2014/main" val="394899139"/>
                    </a:ext>
                  </a:extLst>
                </a:gridCol>
                <a:gridCol w="6389299">
                  <a:extLst>
                    <a:ext uri="{9D8B030D-6E8A-4147-A177-3AD203B41FA5}">
                      <a16:colId xmlns:a16="http://schemas.microsoft.com/office/drawing/2014/main" val="3270680952"/>
                    </a:ext>
                  </a:extLst>
                </a:gridCol>
              </a:tblGrid>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1A5BA7"/>
                        </a:buClr>
                        <a:buSzTx/>
                        <a:buFont typeface="Trebuchet MS" panose="020B0603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hat are the application submission rules for Tranche-3?</a:t>
                      </a:r>
                    </a:p>
                  </a:txBody>
                  <a:tcPr marR="0" marT="27432" marB="27432" anchor="ctr">
                    <a:lnT w="9525" cap="flat" cmpd="sng" algn="ctr">
                      <a:no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25110860"/>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panose="020B0604020202020204" pitchFamily="34" charset="0"/>
                          <a:cs typeface="Arial" panose="020B0604020202020204" pitchFamily="34" charset="0"/>
                        </a:rPr>
                        <a:t>What </a:t>
                      </a:r>
                      <a:r>
                        <a:rPr lang="en-US" err="1">
                          <a:solidFill>
                            <a:srgbClr val="000000"/>
                          </a:solidFill>
                          <a:latin typeface="Arial" panose="020B0604020202020204" pitchFamily="34" charset="0"/>
                          <a:cs typeface="Arial" panose="020B0604020202020204" pitchFamily="34" charset="0"/>
                        </a:rPr>
                        <a:t>CBGs</a:t>
                      </a:r>
                      <a:r>
                        <a:rPr lang="en-US">
                          <a:solidFill>
                            <a:srgbClr val="000000"/>
                          </a:solidFill>
                          <a:latin typeface="Arial" panose="020B0604020202020204" pitchFamily="34" charset="0"/>
                          <a:cs typeface="Arial" panose="020B0604020202020204" pitchFamily="34" charset="0"/>
                        </a:rPr>
                        <a:t> are available for bidding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1037428618"/>
                  </a:ext>
                </a:extLst>
              </a:tr>
              <a:tr h="727925">
                <a:tc>
                  <a:txBody>
                    <a:bodyPr/>
                    <a:lstStyle/>
                    <a:p>
                      <a:pPr marL="0" indent="0" algn="l" rtl="0" fontAlgn="auto" hangingPunct="1">
                        <a:lnSpc>
                          <a:spcPct val="100000"/>
                        </a:lnSpc>
                        <a:spcBef>
                          <a:spcPts val="0"/>
                        </a:spcBef>
                        <a:spcAft>
                          <a:spcPts val="0"/>
                        </a:spcAft>
                      </a:pPr>
                      <a:endParaRPr lang="en-US" sz="1400" b="0" i="0" u="none">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How will applications be preliminarily selected in Tranche-3?</a:t>
                      </a:r>
                    </a:p>
                  </a:txBody>
                  <a:tcPr marR="0" marT="27432" marB="27432"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510883694"/>
                  </a:ext>
                </a:extLst>
              </a:tr>
              <a:tr h="727925">
                <a:tc>
                  <a:txBody>
                    <a:bodyPr/>
                    <a:lstStyle/>
                    <a:p>
                      <a:pPr marL="0" indent="0" algn="l" rtl="0" fontAlgn="auto" hangingPunct="1">
                        <a:lnSpc>
                          <a:spcPct val="100000"/>
                        </a:lnSpc>
                        <a:spcBef>
                          <a:spcPts val="0"/>
                        </a:spcBef>
                        <a:spcAft>
                          <a:spcPts val="0"/>
                        </a:spcAft>
                      </a:pPr>
                      <a:endParaRPr lang="en-US" sz="1400" b="0" i="0" u="none" dirty="0">
                        <a:solidFill>
                          <a:schemeClr val="tx1"/>
                        </a:solidFill>
                        <a:latin typeface="Arial" panose="020B0604020202020204" pitchFamily="34" charset="0"/>
                        <a:cs typeface="Arial" panose="020B0604020202020204" pitchFamily="34" charset="0"/>
                      </a:endParaRP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panose="020B0604020202020204" pitchFamily="34" charset="0"/>
                          <a:cs typeface="Arial" panose="020B0604020202020204" pitchFamily="34" charset="0"/>
                        </a:rPr>
                        <a:t>Resources and reminders</a:t>
                      </a:r>
                    </a:p>
                  </a:txBody>
                  <a:tcPr marR="0" marT="27432" marB="27432" anchor="ctr">
                    <a:lnT w="9525" cap="flat" cmpd="sng" algn="ctr">
                      <a:solidFill>
                        <a:schemeClr val="bg1">
                          <a:lumMod val="65000"/>
                        </a:schemeClr>
                      </a:solidFill>
                      <a:prstDash val="sys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7666917"/>
                  </a:ext>
                </a:extLst>
              </a:tr>
            </a:tbl>
          </a:graphicData>
        </a:graphic>
      </p:graphicFrame>
      <p:grpSp>
        <p:nvGrpSpPr>
          <p:cNvPr id="8" name="Group 7">
            <a:extLst>
              <a:ext uri="{FF2B5EF4-FFF2-40B4-BE49-F238E27FC236}">
                <a16:creationId xmlns:a16="http://schemas.microsoft.com/office/drawing/2014/main" id="{3E19856A-C0D6-9CB6-F05B-83B7C200BC44}"/>
              </a:ext>
            </a:extLst>
          </p:cNvPr>
          <p:cNvGrpSpPr/>
          <p:nvPr/>
        </p:nvGrpSpPr>
        <p:grpSpPr>
          <a:xfrm>
            <a:off x="0" y="0"/>
            <a:ext cx="4116907" cy="6858000"/>
            <a:chOff x="0" y="0"/>
            <a:chExt cx="4116907" cy="6858000"/>
          </a:xfrm>
        </p:grpSpPr>
        <p:pic>
          <p:nvPicPr>
            <p:cNvPr id="5" name="Picture 4">
              <a:extLst>
                <a:ext uri="{FF2B5EF4-FFF2-40B4-BE49-F238E27FC236}">
                  <a16:creationId xmlns:a16="http://schemas.microsoft.com/office/drawing/2014/main" id="{2B53E96D-D7C4-90DD-8AE3-0CBD771A712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0" y="0"/>
              <a:ext cx="4116907" cy="6858000"/>
            </a:xfrm>
            <a:prstGeom prst="rect">
              <a:avLst/>
            </a:prstGeom>
          </p:spPr>
        </p:pic>
        <p:sp>
          <p:nvSpPr>
            <p:cNvPr id="3" name="Rectangle 2">
              <a:extLst>
                <a:ext uri="{FF2B5EF4-FFF2-40B4-BE49-F238E27FC236}">
                  <a16:creationId xmlns:a16="http://schemas.microsoft.com/office/drawing/2014/main" id="{10F28F98-B382-0DC5-1D1C-592FB5CF782F}"/>
                </a:ext>
              </a:extLst>
            </p:cNvPr>
            <p:cNvSpPr/>
            <p:nvPr/>
          </p:nvSpPr>
          <p:spPr>
            <a:xfrm>
              <a:off x="0" y="0"/>
              <a:ext cx="4116907" cy="6858000"/>
            </a:xfrm>
            <a:prstGeom prst="rect">
              <a:avLst/>
            </a:prstGeom>
            <a:gradFill>
              <a:gsLst>
                <a:gs pos="0">
                  <a:schemeClr val="accent4">
                    <a:alpha val="70000"/>
                  </a:schemeClr>
                </a:gs>
                <a:gs pos="100000">
                  <a:schemeClr val="tx2">
                    <a:alpha val="90000"/>
                  </a:schemeClr>
                </a:gs>
              </a:gsLst>
              <a:lin ang="54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39" name="Title 38">
            <a:extLst>
              <a:ext uri="{FF2B5EF4-FFF2-40B4-BE49-F238E27FC236}">
                <a16:creationId xmlns:a16="http://schemas.microsoft.com/office/drawing/2014/main" id="{19614304-D6E9-A321-DA03-F57851BF4963}"/>
              </a:ext>
            </a:extLst>
          </p:cNvPr>
          <p:cNvSpPr>
            <a:spLocks noGrp="1"/>
          </p:cNvSpPr>
          <p:nvPr>
            <p:ph type="title"/>
          </p:nvPr>
        </p:nvSpPr>
        <p:spPr/>
        <p:txBody>
          <a:bodyPr vert="horz"/>
          <a:lstStyle/>
          <a:p>
            <a:r>
              <a:rPr lang="en-US" sz="4400"/>
              <a:t>Agenda</a:t>
            </a:r>
          </a:p>
        </p:txBody>
      </p:sp>
      <p:cxnSp>
        <p:nvCxnSpPr>
          <p:cNvPr id="7" name="Straight Connector 6">
            <a:extLst>
              <a:ext uri="{FF2B5EF4-FFF2-40B4-BE49-F238E27FC236}">
                <a16:creationId xmlns:a16="http://schemas.microsoft.com/office/drawing/2014/main" id="{A5A0E17B-5E51-9651-ADD2-F85634191E94}"/>
              </a:ext>
            </a:extLst>
          </p:cNvPr>
          <p:cNvCxnSpPr/>
          <p:nvPr/>
        </p:nvCxnSpPr>
        <p:spPr>
          <a:xfrm>
            <a:off x="4880583" y="0"/>
            <a:ext cx="0" cy="685800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E395BAED-993C-8687-CA94-509E436BBE60}"/>
              </a:ext>
            </a:extLst>
          </p:cNvPr>
          <p:cNvSpPr/>
          <p:nvPr/>
        </p:nvSpPr>
        <p:spPr>
          <a:xfrm>
            <a:off x="1" y="0"/>
            <a:ext cx="4114800" cy="6858000"/>
          </a:xfrm>
          <a:prstGeom prst="rect">
            <a:avLst/>
          </a:prstGeom>
          <a:solidFill>
            <a:srgbClr val="1A5BA7"/>
          </a:solidFill>
          <a:ln>
            <a:solidFill>
              <a:srgbClr val="2459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dirty="0">
                <a:latin typeface="Arial "/>
              </a:rPr>
              <a:t>Agenda</a:t>
            </a:r>
            <a:endParaRPr lang="en-US" sz="4000" dirty="0">
              <a:latin typeface="Arial "/>
              <a:cs typeface="Arial" panose="020B0604020202020204" pitchFamily="34" charset="0"/>
            </a:endParaRPr>
          </a:p>
        </p:txBody>
      </p:sp>
      <p:graphicFrame>
        <p:nvGraphicFramePr>
          <p:cNvPr id="6" name="think-cell data - do not delete" hidden="1">
            <a:extLst>
              <a:ext uri="{FF2B5EF4-FFF2-40B4-BE49-F238E27FC236}">
                <a16:creationId xmlns:a16="http://schemas.microsoft.com/office/drawing/2014/main" id="{63739228-1291-5D7E-BEED-29C0B6A236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6" name="think-cell data - do not delete" hidden="1">
                        <a:extLst>
                          <a:ext uri="{FF2B5EF4-FFF2-40B4-BE49-F238E27FC236}">
                            <a16:creationId xmlns:a16="http://schemas.microsoft.com/office/drawing/2014/main" id="{63739228-1291-5D7E-BEED-29C0B6A236C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6" name="think-cell data - do not delete" hidden="1">
            <a:extLst>
              <a:ext uri="{FF2B5EF4-FFF2-40B4-BE49-F238E27FC236}">
                <a16:creationId xmlns:a16="http://schemas.microsoft.com/office/drawing/2014/main" id="{A83ED20D-1EF3-2045-2021-8B75B5E685BB}"/>
              </a:ext>
            </a:extLst>
          </p:cNvPr>
          <p:cNvGraphicFramePr>
            <a:graphicFrameLocks noChangeAspect="1"/>
          </p:cNvGraphicFramePr>
          <p:nvPr>
            <p:custDataLst>
              <p:tags r:id="rId3"/>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6" name="think-cell data - do not delete" hidden="1">
                        <a:extLst>
                          <a:ext uri="{FF2B5EF4-FFF2-40B4-BE49-F238E27FC236}">
                            <a16:creationId xmlns:a16="http://schemas.microsoft.com/office/drawing/2014/main" id="{A83ED20D-1EF3-2045-2021-8B75B5E685BB}"/>
                          </a:ext>
                        </a:extLst>
                      </p:cNvPr>
                      <p:cNvPicPr/>
                      <p:nvPr/>
                    </p:nvPicPr>
                    <p:blipFill>
                      <a:blip r:embed="rId15"/>
                      <a:stretch>
                        <a:fillRect/>
                      </a:stretch>
                    </p:blipFill>
                    <p:spPr>
                      <a:xfrm>
                        <a:off x="153988" y="153988"/>
                        <a:ext cx="1588" cy="1588"/>
                      </a:xfrm>
                      <a:prstGeom prst="rect">
                        <a:avLst/>
                      </a:prstGeom>
                    </p:spPr>
                  </p:pic>
                </p:oleObj>
              </mc:Fallback>
            </mc:AlternateContent>
          </a:graphicData>
        </a:graphic>
      </p:graphicFrame>
      <p:graphicFrame>
        <p:nvGraphicFramePr>
          <p:cNvPr id="18" name="think-cell data - do not delete" hidden="1">
            <a:extLst>
              <a:ext uri="{FF2B5EF4-FFF2-40B4-BE49-F238E27FC236}">
                <a16:creationId xmlns:a16="http://schemas.microsoft.com/office/drawing/2014/main" id="{EA452803-D16C-BF49-A94C-15B3C28641EA}"/>
              </a:ext>
            </a:extLst>
          </p:cNvPr>
          <p:cNvGraphicFramePr>
            <a:graphicFrameLocks noChangeAspect="1"/>
          </p:cNvGraphicFramePr>
          <p:nvPr>
            <p:custDataLst>
              <p:tags r:id="rId4"/>
            </p:custDataLst>
          </p:nvPr>
        </p:nvGraphicFramePr>
        <p:xfrm>
          <a:off x="306388" y="3063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18" name="think-cell data - do not delete" hidden="1">
                        <a:extLst>
                          <a:ext uri="{FF2B5EF4-FFF2-40B4-BE49-F238E27FC236}">
                            <a16:creationId xmlns:a16="http://schemas.microsoft.com/office/drawing/2014/main" id="{EA452803-D16C-BF49-A94C-15B3C28641EA}"/>
                          </a:ext>
                        </a:extLst>
                      </p:cNvPr>
                      <p:cNvPicPr/>
                      <p:nvPr/>
                    </p:nvPicPr>
                    <p:blipFill>
                      <a:blip r:embed="rId15"/>
                      <a:stretch>
                        <a:fillRect/>
                      </a:stretch>
                    </p:blipFill>
                    <p:spPr>
                      <a:xfrm>
                        <a:off x="306388" y="306388"/>
                        <a:ext cx="1588" cy="1588"/>
                      </a:xfrm>
                      <a:prstGeom prst="rect">
                        <a:avLst/>
                      </a:prstGeom>
                    </p:spPr>
                  </p:pic>
                </p:oleObj>
              </mc:Fallback>
            </mc:AlternateContent>
          </a:graphicData>
        </a:graphic>
      </p:graphicFrame>
      <p:graphicFrame>
        <p:nvGraphicFramePr>
          <p:cNvPr id="23" name="think-cell data - do not delete" hidden="1">
            <a:extLst>
              <a:ext uri="{FF2B5EF4-FFF2-40B4-BE49-F238E27FC236}">
                <a16:creationId xmlns:a16="http://schemas.microsoft.com/office/drawing/2014/main" id="{9F48E0E0-5B77-EED1-3944-F45C65561DEF}"/>
              </a:ext>
            </a:extLst>
          </p:cNvPr>
          <p:cNvGraphicFramePr>
            <a:graphicFrameLocks noChangeAspect="1"/>
          </p:cNvGraphicFramePr>
          <p:nvPr>
            <p:custDataLst>
              <p:tags r:id="rId5"/>
            </p:custData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3" name="think-cell data - do not delete" hidden="1">
                        <a:extLst>
                          <a:ext uri="{FF2B5EF4-FFF2-40B4-BE49-F238E27FC236}">
                            <a16:creationId xmlns:a16="http://schemas.microsoft.com/office/drawing/2014/main" id="{9F48E0E0-5B77-EED1-3944-F45C65561DEF}"/>
                          </a:ext>
                        </a:extLst>
                      </p:cNvPr>
                      <p:cNvPicPr/>
                      <p:nvPr/>
                    </p:nvPicPr>
                    <p:blipFill>
                      <a:blip r:embed="rId15"/>
                      <a:stretch>
                        <a:fillRect/>
                      </a:stretch>
                    </p:blipFill>
                    <p:spPr>
                      <a:xfrm>
                        <a:off x="458788" y="458788"/>
                        <a:ext cx="1588" cy="1588"/>
                      </a:xfrm>
                      <a:prstGeom prst="rect">
                        <a:avLst/>
                      </a:prstGeom>
                    </p:spPr>
                  </p:pic>
                </p:oleObj>
              </mc:Fallback>
            </mc:AlternateContent>
          </a:graphicData>
        </a:graphic>
      </p:graphicFrame>
      <p:graphicFrame>
        <p:nvGraphicFramePr>
          <p:cNvPr id="25" name="think-cell data - do not delete" hidden="1">
            <a:extLst>
              <a:ext uri="{FF2B5EF4-FFF2-40B4-BE49-F238E27FC236}">
                <a16:creationId xmlns:a16="http://schemas.microsoft.com/office/drawing/2014/main" id="{55594793-81E9-967E-C608-906BFF9340A1}"/>
              </a:ext>
            </a:extLst>
          </p:cNvPr>
          <p:cNvGraphicFramePr>
            <a:graphicFrameLocks noChangeAspect="1"/>
          </p:cNvGraphicFramePr>
          <p:nvPr>
            <p:custDataLst>
              <p:tags r:id="rId6"/>
            </p:custDataLst>
          </p:nvPr>
        </p:nvGraphicFramePr>
        <p:xfrm>
          <a:off x="611188" y="6111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5" name="think-cell data - do not delete" hidden="1">
                        <a:extLst>
                          <a:ext uri="{FF2B5EF4-FFF2-40B4-BE49-F238E27FC236}">
                            <a16:creationId xmlns:a16="http://schemas.microsoft.com/office/drawing/2014/main" id="{55594793-81E9-967E-C608-906BFF9340A1}"/>
                          </a:ext>
                        </a:extLst>
                      </p:cNvPr>
                      <p:cNvPicPr/>
                      <p:nvPr/>
                    </p:nvPicPr>
                    <p:blipFill>
                      <a:blip r:embed="rId15"/>
                      <a:stretch>
                        <a:fillRect/>
                      </a:stretch>
                    </p:blipFill>
                    <p:spPr>
                      <a:xfrm>
                        <a:off x="611188" y="611188"/>
                        <a:ext cx="1588" cy="1588"/>
                      </a:xfrm>
                      <a:prstGeom prst="rect">
                        <a:avLst/>
                      </a:prstGeom>
                    </p:spPr>
                  </p:pic>
                </p:oleObj>
              </mc:Fallback>
            </mc:AlternateContent>
          </a:graphicData>
        </a:graphic>
      </p:graphicFrame>
      <p:sp>
        <p:nvSpPr>
          <p:cNvPr id="26" name="Oval 20">
            <a:extLst>
              <a:ext uri="{FF2B5EF4-FFF2-40B4-BE49-F238E27FC236}">
                <a16:creationId xmlns:a16="http://schemas.microsoft.com/office/drawing/2014/main" id="{ABAE23AD-DBD4-B5BD-C0EA-C949FB18F5FA}"/>
              </a:ext>
            </a:extLst>
          </p:cNvPr>
          <p:cNvSpPr>
            <a:spLocks noChangeAspect="1" noChangeArrowheads="1"/>
          </p:cNvSpPr>
          <p:nvPr/>
        </p:nvSpPr>
        <p:spPr bwMode="auto">
          <a:xfrm>
            <a:off x="4673724" y="359531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3</a:t>
            </a:r>
          </a:p>
        </p:txBody>
      </p:sp>
      <p:graphicFrame>
        <p:nvGraphicFramePr>
          <p:cNvPr id="27" name="think-cell data - do not delete" hidden="1">
            <a:extLst>
              <a:ext uri="{FF2B5EF4-FFF2-40B4-BE49-F238E27FC236}">
                <a16:creationId xmlns:a16="http://schemas.microsoft.com/office/drawing/2014/main" id="{86E68016-2F3E-F270-A8D8-B92A367435E3}"/>
              </a:ext>
            </a:extLst>
          </p:cNvPr>
          <p:cNvGraphicFramePr>
            <a:graphicFrameLocks noChangeAspect="1"/>
          </p:cNvGraphicFramePr>
          <p:nvPr>
            <p:custDataLst>
              <p:tags r:id="rId7"/>
            </p:custDataLst>
          </p:nvPr>
        </p:nvGraphicFramePr>
        <p:xfrm>
          <a:off x="763588" y="7635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27" name="think-cell data - do not delete" hidden="1">
                        <a:extLst>
                          <a:ext uri="{FF2B5EF4-FFF2-40B4-BE49-F238E27FC236}">
                            <a16:creationId xmlns:a16="http://schemas.microsoft.com/office/drawing/2014/main" id="{86E68016-2F3E-F270-A8D8-B92A367435E3}"/>
                          </a:ext>
                        </a:extLst>
                      </p:cNvPr>
                      <p:cNvPicPr/>
                      <p:nvPr/>
                    </p:nvPicPr>
                    <p:blipFill>
                      <a:blip r:embed="rId15"/>
                      <a:stretch>
                        <a:fillRect/>
                      </a:stretch>
                    </p:blipFill>
                    <p:spPr>
                      <a:xfrm>
                        <a:off x="763588" y="763588"/>
                        <a:ext cx="1588" cy="1588"/>
                      </a:xfrm>
                      <a:prstGeom prst="rect">
                        <a:avLst/>
                      </a:prstGeom>
                    </p:spPr>
                  </p:pic>
                </p:oleObj>
              </mc:Fallback>
            </mc:AlternateContent>
          </a:graphicData>
        </a:graphic>
      </p:graphicFrame>
      <p:sp>
        <p:nvSpPr>
          <p:cNvPr id="29" name="Oval 20">
            <a:extLst>
              <a:ext uri="{FF2B5EF4-FFF2-40B4-BE49-F238E27FC236}">
                <a16:creationId xmlns:a16="http://schemas.microsoft.com/office/drawing/2014/main" id="{F01D05FD-3DE1-39C1-00C6-8CD4E8FC19A2}"/>
              </a:ext>
            </a:extLst>
          </p:cNvPr>
          <p:cNvSpPr>
            <a:spLocks noChangeAspect="1" noChangeArrowheads="1"/>
          </p:cNvSpPr>
          <p:nvPr/>
        </p:nvSpPr>
        <p:spPr bwMode="auto">
          <a:xfrm>
            <a:off x="4673724" y="286739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2</a:t>
            </a:r>
          </a:p>
        </p:txBody>
      </p:sp>
      <p:graphicFrame>
        <p:nvGraphicFramePr>
          <p:cNvPr id="30" name="think-cell data - do not delete" hidden="1">
            <a:extLst>
              <a:ext uri="{FF2B5EF4-FFF2-40B4-BE49-F238E27FC236}">
                <a16:creationId xmlns:a16="http://schemas.microsoft.com/office/drawing/2014/main" id="{4286EEBC-33FF-D54A-0FFE-C67DCE91E055}"/>
              </a:ext>
            </a:extLst>
          </p:cNvPr>
          <p:cNvGraphicFramePr>
            <a:graphicFrameLocks noChangeAspect="1"/>
          </p:cNvGraphicFramePr>
          <p:nvPr>
            <p:custDataLst>
              <p:tags r:id="rId8"/>
            </p:custDataLst>
          </p:nvPr>
        </p:nvGraphicFramePr>
        <p:xfrm>
          <a:off x="915988" y="915988"/>
          <a:ext cx="1588" cy="1588"/>
        </p:xfrm>
        <a:graphic>
          <a:graphicData uri="http://schemas.openxmlformats.org/presentationml/2006/ole">
            <mc:AlternateContent xmlns:mc="http://schemas.openxmlformats.org/markup-compatibility/2006">
              <mc:Choice xmlns:v="urn:schemas-microsoft-com:vml" Requires="v">
                <p:oleObj name="think-cell Slide" r:id="rId14" imgW="389" imgH="396" progId="TCLayout.ActiveDocument.1">
                  <p:embed/>
                </p:oleObj>
              </mc:Choice>
              <mc:Fallback>
                <p:oleObj name="think-cell Slide" r:id="rId14" imgW="389" imgH="396" progId="TCLayout.ActiveDocument.1">
                  <p:embed/>
                  <p:pic>
                    <p:nvPicPr>
                      <p:cNvPr id="30" name="think-cell data - do not delete" hidden="1">
                        <a:extLst>
                          <a:ext uri="{FF2B5EF4-FFF2-40B4-BE49-F238E27FC236}">
                            <a16:creationId xmlns:a16="http://schemas.microsoft.com/office/drawing/2014/main" id="{4286EEBC-33FF-D54A-0FFE-C67DCE91E055}"/>
                          </a:ext>
                        </a:extLst>
                      </p:cNvPr>
                      <p:cNvPicPr/>
                      <p:nvPr/>
                    </p:nvPicPr>
                    <p:blipFill>
                      <a:blip r:embed="rId15"/>
                      <a:stretch>
                        <a:fillRect/>
                      </a:stretch>
                    </p:blipFill>
                    <p:spPr>
                      <a:xfrm>
                        <a:off x="915988" y="915988"/>
                        <a:ext cx="1588" cy="1588"/>
                      </a:xfrm>
                      <a:prstGeom prst="rect">
                        <a:avLst/>
                      </a:prstGeom>
                    </p:spPr>
                  </p:pic>
                </p:oleObj>
              </mc:Fallback>
            </mc:AlternateContent>
          </a:graphicData>
        </a:graphic>
      </p:graphicFrame>
      <p:sp>
        <p:nvSpPr>
          <p:cNvPr id="31" name="Oval 20">
            <a:extLst>
              <a:ext uri="{FF2B5EF4-FFF2-40B4-BE49-F238E27FC236}">
                <a16:creationId xmlns:a16="http://schemas.microsoft.com/office/drawing/2014/main" id="{799F8FDC-E292-A24C-9E75-47215390E3EA}"/>
              </a:ext>
            </a:extLst>
          </p:cNvPr>
          <p:cNvSpPr>
            <a:spLocks noChangeAspect="1" noChangeArrowheads="1"/>
          </p:cNvSpPr>
          <p:nvPr/>
        </p:nvSpPr>
        <p:spPr bwMode="auto">
          <a:xfrm>
            <a:off x="4673724" y="2139466"/>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
              </a:rPr>
              <a:t>1</a:t>
            </a:r>
          </a:p>
        </p:txBody>
      </p:sp>
      <p:sp>
        <p:nvSpPr>
          <p:cNvPr id="4" name="Oval 20">
            <a:extLst>
              <a:ext uri="{FF2B5EF4-FFF2-40B4-BE49-F238E27FC236}">
                <a16:creationId xmlns:a16="http://schemas.microsoft.com/office/drawing/2014/main" id="{C496940C-8635-ACB9-B239-59674B8A9DBA}"/>
              </a:ext>
            </a:extLst>
          </p:cNvPr>
          <p:cNvSpPr>
            <a:spLocks noChangeAspect="1" noChangeArrowheads="1"/>
          </p:cNvSpPr>
          <p:nvPr/>
        </p:nvSpPr>
        <p:spPr bwMode="auto">
          <a:xfrm>
            <a:off x="4673724" y="4323241"/>
            <a:ext cx="395294" cy="395294"/>
          </a:xfrm>
          <a:prstGeom prst="ellipse">
            <a:avLst/>
          </a:prstGeom>
          <a:solidFill>
            <a:srgbClr val="1A5BA7">
              <a:lumMod val="100000"/>
            </a:srgbClr>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Arial "/>
              </a:rPr>
              <a:t>4</a:t>
            </a:r>
          </a:p>
        </p:txBody>
      </p:sp>
    </p:spTree>
    <p:extLst>
      <p:ext uri="{BB962C8B-B14F-4D97-AF65-F5344CB8AC3E}">
        <p14:creationId xmlns:p14="http://schemas.microsoft.com/office/powerpoint/2010/main" val="10773920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C14A64-FE34-8137-B14F-55B4934D4FE3}"/>
              </a:ext>
            </a:extLst>
          </p:cNvPr>
          <p:cNvGraphicFramePr>
            <a:graphicFrameLocks noChangeAspect="1"/>
          </p:cNvGraphicFramePr>
          <p:nvPr>
            <p:custDataLst>
              <p:tags r:id="rId1"/>
            </p:custDataLst>
            <p:extLst>
              <p:ext uri="{D42A27DB-BD31-4B8C-83A1-F6EECF244321}">
                <p14:modId xmlns:p14="http://schemas.microsoft.com/office/powerpoint/2010/main" val="321754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4" name="think-cell data - do not delete" hidden="1">
                        <a:extLst>
                          <a:ext uri="{FF2B5EF4-FFF2-40B4-BE49-F238E27FC236}">
                            <a16:creationId xmlns:a16="http://schemas.microsoft.com/office/drawing/2014/main" id="{22C14A64-FE34-8137-B14F-55B4934D4F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5" name="Right Triangle 74">
            <a:extLst>
              <a:ext uri="{FF2B5EF4-FFF2-40B4-BE49-F238E27FC236}">
                <a16:creationId xmlns:a16="http://schemas.microsoft.com/office/drawing/2014/main" id="{5297F299-6EA1-6E9A-E893-FB950604F3D9}"/>
              </a:ext>
            </a:extLst>
          </p:cNvPr>
          <p:cNvSpPr/>
          <p:nvPr/>
        </p:nvSpPr>
        <p:spPr>
          <a:xfrm flipH="1">
            <a:off x="5442012" y="1845287"/>
            <a:ext cx="146906" cy="542954"/>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6" name="Right Triangle 75">
            <a:extLst>
              <a:ext uri="{FF2B5EF4-FFF2-40B4-BE49-F238E27FC236}">
                <a16:creationId xmlns:a16="http://schemas.microsoft.com/office/drawing/2014/main" id="{CF88D791-3B1E-EFAC-F50B-92988E3C3B67}"/>
              </a:ext>
            </a:extLst>
          </p:cNvPr>
          <p:cNvSpPr/>
          <p:nvPr/>
        </p:nvSpPr>
        <p:spPr>
          <a:xfrm flipH="1" flipV="1">
            <a:off x="5442012" y="5921843"/>
            <a:ext cx="146906" cy="307522"/>
          </a:xfrm>
          <a:prstGeom prst="rtTriangle">
            <a:avLst/>
          </a:prstGeom>
          <a:solidFill>
            <a:schemeClr val="accent1"/>
          </a:solidFill>
          <a:ln w="9525" cap="rnd" cmpd="sng" algn="ctr">
            <a:solidFill>
              <a:srgbClr val="0D2E5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9FBEB38-5F92-C213-C6BB-12901A4ADA7F}"/>
              </a:ext>
            </a:extLst>
          </p:cNvPr>
          <p:cNvSpPr/>
          <p:nvPr/>
        </p:nvSpPr>
        <p:spPr>
          <a:xfrm>
            <a:off x="1101468" y="2397513"/>
            <a:ext cx="104980" cy="3524329"/>
          </a:xfrm>
          <a:prstGeom prst="rect">
            <a:avLst/>
          </a:prstGeom>
          <a:solidFill>
            <a:srgbClr val="CDCF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4" name="Rectangle: Top Corners Rounded 73">
            <a:extLst>
              <a:ext uri="{FF2B5EF4-FFF2-40B4-BE49-F238E27FC236}">
                <a16:creationId xmlns:a16="http://schemas.microsoft.com/office/drawing/2014/main" id="{FD431A73-553D-8ADB-DE28-B2F27005FD9D}"/>
              </a:ext>
            </a:extLst>
          </p:cNvPr>
          <p:cNvSpPr/>
          <p:nvPr/>
        </p:nvSpPr>
        <p:spPr>
          <a:xfrm rot="16200000">
            <a:off x="1496887" y="1819206"/>
            <a:ext cx="3524327" cy="4680943"/>
          </a:xfrm>
          <a:prstGeom prst="round2SameRect">
            <a:avLst>
              <a:gd name="adj1" fmla="val 1460"/>
              <a:gd name="adj2" fmla="val 0"/>
            </a:avLst>
          </a:prstGeom>
          <a:noFill/>
          <a:ln w="9525" cap="rnd"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75757"/>
              </a:solidFill>
              <a:effectLst/>
              <a:uLnTx/>
              <a:uFillTx/>
              <a:latin typeface="Arial" panose="020B0604020202020204"/>
              <a:ea typeface="+mn-ea"/>
              <a:cs typeface="+mn-cs"/>
            </a:endParaRPr>
          </a:p>
        </p:txBody>
      </p:sp>
      <p:sp>
        <p:nvSpPr>
          <p:cNvPr id="72" name="Rectangle 71">
            <a:extLst>
              <a:ext uri="{FF2B5EF4-FFF2-40B4-BE49-F238E27FC236}">
                <a16:creationId xmlns:a16="http://schemas.microsoft.com/office/drawing/2014/main" id="{118C1689-E3EC-FB81-DF33-F61BF0DBB12A}"/>
              </a:ext>
            </a:extLst>
          </p:cNvPr>
          <p:cNvSpPr/>
          <p:nvPr/>
        </p:nvSpPr>
        <p:spPr>
          <a:xfrm>
            <a:off x="5588950" y="1835761"/>
            <a:ext cx="5974400" cy="4436910"/>
          </a:xfrm>
          <a:prstGeom prst="rect">
            <a:avLst/>
          </a:prstGeom>
          <a:solidFill>
            <a:schemeClr val="bg1"/>
          </a:solidFill>
          <a:ln w="9525"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75757"/>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B3AD6868-03E3-0BA8-5ABA-A56E6B9CDD30}"/>
              </a:ext>
            </a:extLst>
          </p:cNvPr>
          <p:cNvSpPr>
            <a:spLocks noGrp="1"/>
          </p:cNvSpPr>
          <p:nvPr>
            <p:ph type="title"/>
          </p:nvPr>
        </p:nvSpPr>
        <p:spPr>
          <a:xfrm>
            <a:off x="630238" y="622300"/>
            <a:ext cx="10933112" cy="664797"/>
          </a:xfrm>
        </p:spPr>
        <p:txBody>
          <a:bodyPr vert="horz"/>
          <a:lstStyle/>
          <a:p>
            <a:r>
              <a:rPr lang="en-US"/>
              <a:t>Tranche-3 applications are scored and adjudicated after applicants have submitted them</a:t>
            </a:r>
          </a:p>
        </p:txBody>
      </p:sp>
      <p:grpSp>
        <p:nvGrpSpPr>
          <p:cNvPr id="7" name="Group 6">
            <a:extLst>
              <a:ext uri="{FF2B5EF4-FFF2-40B4-BE49-F238E27FC236}">
                <a16:creationId xmlns:a16="http://schemas.microsoft.com/office/drawing/2014/main" id="{E9320E28-DD71-688A-29AE-0073E625DF60}"/>
              </a:ext>
            </a:extLst>
          </p:cNvPr>
          <p:cNvGrpSpPr>
            <a:grpSpLocks noChangeAspect="1"/>
          </p:cNvGrpSpPr>
          <p:nvPr/>
        </p:nvGrpSpPr>
        <p:grpSpPr>
          <a:xfrm>
            <a:off x="992523" y="3650085"/>
            <a:ext cx="359261" cy="307533"/>
            <a:chOff x="4721669" y="2368064"/>
            <a:chExt cx="434347" cy="371803"/>
          </a:xfrm>
        </p:grpSpPr>
        <p:sp>
          <p:nvSpPr>
            <p:cNvPr id="8" name="Freeform: Shape 7">
              <a:extLst>
                <a:ext uri="{FF2B5EF4-FFF2-40B4-BE49-F238E27FC236}">
                  <a16:creationId xmlns:a16="http://schemas.microsoft.com/office/drawing/2014/main" id="{7341ABE0-09E1-1C6A-32AE-B4510744AD12}"/>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1"/>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9" name="Freeform: Shape 8">
              <a:extLst>
                <a:ext uri="{FF2B5EF4-FFF2-40B4-BE49-F238E27FC236}">
                  <a16:creationId xmlns:a16="http://schemas.microsoft.com/office/drawing/2014/main" id="{04E16D2D-A479-D6C7-27FD-687614E698EA}"/>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tx2"/>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10" name="Freeform: Shape 9">
              <a:extLst>
                <a:ext uri="{FF2B5EF4-FFF2-40B4-BE49-F238E27FC236}">
                  <a16:creationId xmlns:a16="http://schemas.microsoft.com/office/drawing/2014/main" id="{7EC3F5CF-2F0C-C347-A274-574233AA4BB2}"/>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grpSp>
        <p:nvGrpSpPr>
          <p:cNvPr id="11" name="Group 10">
            <a:extLst>
              <a:ext uri="{FF2B5EF4-FFF2-40B4-BE49-F238E27FC236}">
                <a16:creationId xmlns:a16="http://schemas.microsoft.com/office/drawing/2014/main" id="{BAAEC7C3-AD3A-81B6-BEE5-07EE2F732BCA}"/>
              </a:ext>
            </a:extLst>
          </p:cNvPr>
          <p:cNvGrpSpPr>
            <a:grpSpLocks noChangeAspect="1"/>
          </p:cNvGrpSpPr>
          <p:nvPr/>
        </p:nvGrpSpPr>
        <p:grpSpPr>
          <a:xfrm>
            <a:off x="992523" y="2755001"/>
            <a:ext cx="359261" cy="307533"/>
            <a:chOff x="4721669" y="2368064"/>
            <a:chExt cx="434347" cy="371803"/>
          </a:xfrm>
        </p:grpSpPr>
        <p:sp>
          <p:nvSpPr>
            <p:cNvPr id="12" name="Freeform: Shape 11">
              <a:extLst>
                <a:ext uri="{FF2B5EF4-FFF2-40B4-BE49-F238E27FC236}">
                  <a16:creationId xmlns:a16="http://schemas.microsoft.com/office/drawing/2014/main" id="{CC33028E-3D9B-EFD0-66D1-DB017257BB2E}"/>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3">
                <a:lumMod val="50000"/>
              </a:schemeClr>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F418978A-05A5-F8AB-0D49-814D865910EE}"/>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accent3"/>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DAFCF599-B8BB-3805-1530-9009EB38E5AA}"/>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sp>
        <p:nvSpPr>
          <p:cNvPr id="31" name="TextBox 30">
            <a:extLst>
              <a:ext uri="{FF2B5EF4-FFF2-40B4-BE49-F238E27FC236}">
                <a16:creationId xmlns:a16="http://schemas.microsoft.com/office/drawing/2014/main" id="{581AC2A1-B4E7-681C-D99F-5B53BDB22761}"/>
              </a:ext>
            </a:extLst>
          </p:cNvPr>
          <p:cNvSpPr txBox="1"/>
          <p:nvPr/>
        </p:nvSpPr>
        <p:spPr>
          <a:xfrm>
            <a:off x="1598469" y="3434519"/>
            <a:ext cx="392155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rPr>
              <a:t>ARConnect</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 scores bids according to the Scoring Rubric (</a:t>
            </a:r>
            <a:r>
              <a:rPr kumimoji="0" lang="en-US" sz="1400" b="0" i="0" u="none" strike="noStrike" kern="1200" cap="none" spc="0" normalizeH="0" baseline="0" noProof="0">
                <a:ln>
                  <a:noFill/>
                </a:ln>
                <a:solidFill>
                  <a:schemeClr val="tx2"/>
                </a:solidFill>
                <a:effectLst/>
                <a:uLnTx/>
                <a:uFillTx/>
                <a:latin typeface="Arial" panose="020B0604020202020204"/>
                <a:ea typeface="+mn-ea"/>
                <a:cs typeface="+mn-cs"/>
              </a:rPr>
              <a:t>except for inclusion of zero bid </a:t>
            </a:r>
            <a:r>
              <a:rPr kumimoji="0" lang="en-US" sz="1400" b="0" i="0" u="none" strike="noStrike" kern="1200" cap="none" spc="0" normalizeH="0" baseline="0" noProof="0" err="1">
                <a:ln>
                  <a:noFill/>
                </a:ln>
                <a:solidFill>
                  <a:schemeClr val="tx2"/>
                </a:solidFill>
                <a:effectLst/>
                <a:uLnTx/>
                <a:uFillTx/>
                <a:latin typeface="Arial" panose="020B0604020202020204"/>
                <a:ea typeface="+mn-ea"/>
                <a:cs typeface="+mn-cs"/>
              </a:rPr>
              <a:t>CBGs</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33" name="TextBox 32">
            <a:extLst>
              <a:ext uri="{FF2B5EF4-FFF2-40B4-BE49-F238E27FC236}">
                <a16:creationId xmlns:a16="http://schemas.microsoft.com/office/drawing/2014/main" id="{5F228CD1-8404-5A81-3F52-E33FFD0C6970}"/>
              </a:ext>
            </a:extLst>
          </p:cNvPr>
          <p:cNvSpPr txBox="1"/>
          <p:nvPr/>
        </p:nvSpPr>
        <p:spPr>
          <a:xfrm>
            <a:off x="1591042" y="4329602"/>
            <a:ext cx="392155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rPr>
              <a:t>ARConnect</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 completes deconfliction and adjudication according to the Tranche-3 rules</a:t>
            </a:r>
          </a:p>
        </p:txBody>
      </p:sp>
      <p:sp>
        <p:nvSpPr>
          <p:cNvPr id="34" name="TextBox 33">
            <a:extLst>
              <a:ext uri="{FF2B5EF4-FFF2-40B4-BE49-F238E27FC236}">
                <a16:creationId xmlns:a16="http://schemas.microsoft.com/office/drawing/2014/main" id="{EEBC7898-23C6-FF30-C8B8-C164F7FFD9CF}"/>
              </a:ext>
            </a:extLst>
          </p:cNvPr>
          <p:cNvSpPr txBox="1"/>
          <p:nvPr/>
        </p:nvSpPr>
        <p:spPr>
          <a:xfrm>
            <a:off x="1591042" y="5224684"/>
            <a:ext cx="392155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000000"/>
                </a:solidFill>
                <a:effectLst/>
                <a:uLnTx/>
                <a:uFillTx/>
                <a:latin typeface="Arial" panose="020B0604020202020204"/>
                <a:ea typeface="+mn-ea"/>
                <a:cs typeface="+mn-cs"/>
              </a:rPr>
              <a:t>ARConnect</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 notifies applicants of adjudication results through Grantor Portal</a:t>
            </a:r>
          </a:p>
        </p:txBody>
      </p:sp>
      <p:cxnSp>
        <p:nvCxnSpPr>
          <p:cNvPr id="41" name="Straight Connector 40">
            <a:extLst>
              <a:ext uri="{FF2B5EF4-FFF2-40B4-BE49-F238E27FC236}">
                <a16:creationId xmlns:a16="http://schemas.microsoft.com/office/drawing/2014/main" id="{57A0E91D-D9FF-883A-C7D9-0986E93F3C47}"/>
              </a:ext>
            </a:extLst>
          </p:cNvPr>
          <p:cNvCxnSpPr/>
          <p:nvPr/>
        </p:nvCxnSpPr>
        <p:spPr>
          <a:xfrm>
            <a:off x="1534267" y="3373310"/>
            <a:ext cx="392155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C5B5DE3-1D0B-9938-58A7-7672A7AF2D14}"/>
              </a:ext>
            </a:extLst>
          </p:cNvPr>
          <p:cNvCxnSpPr/>
          <p:nvPr/>
        </p:nvCxnSpPr>
        <p:spPr>
          <a:xfrm>
            <a:off x="1591042" y="4251393"/>
            <a:ext cx="392155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16ED02C-C292-F4F1-FC53-634E5C29E684}"/>
              </a:ext>
            </a:extLst>
          </p:cNvPr>
          <p:cNvCxnSpPr/>
          <p:nvPr/>
        </p:nvCxnSpPr>
        <p:spPr>
          <a:xfrm>
            <a:off x="1534267" y="5195270"/>
            <a:ext cx="3921551" cy="0"/>
          </a:xfrm>
          <a:prstGeom prst="line">
            <a:avLst/>
          </a:prstGeom>
          <a:ln w="9525" cap="rnd">
            <a:solidFill>
              <a:srgbClr val="9A9A9A"/>
            </a:solidFill>
            <a:prstDash val="sysDot"/>
            <a:round/>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BE94BAEE-B3CF-FC93-6BF4-F93917CCD028}"/>
              </a:ext>
            </a:extLst>
          </p:cNvPr>
          <p:cNvGrpSpPr>
            <a:grpSpLocks noChangeAspect="1"/>
          </p:cNvGrpSpPr>
          <p:nvPr/>
        </p:nvGrpSpPr>
        <p:grpSpPr>
          <a:xfrm>
            <a:off x="992523" y="4545168"/>
            <a:ext cx="359261" cy="307533"/>
            <a:chOff x="4721669" y="2368064"/>
            <a:chExt cx="434347" cy="371803"/>
          </a:xfrm>
        </p:grpSpPr>
        <p:sp>
          <p:nvSpPr>
            <p:cNvPr id="45" name="Freeform: Shape 44">
              <a:extLst>
                <a:ext uri="{FF2B5EF4-FFF2-40B4-BE49-F238E27FC236}">
                  <a16:creationId xmlns:a16="http://schemas.microsoft.com/office/drawing/2014/main" id="{FA493014-5927-4C70-CC6F-2D304B999D66}"/>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1"/>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id="{2E1AB061-87A9-4E52-D02C-58D53B637D73}"/>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tx2"/>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id="{4AC559A3-8CD6-39A6-8EDA-0A6FBC9464B5}"/>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grpSp>
        <p:nvGrpSpPr>
          <p:cNvPr id="48" name="Group 47">
            <a:extLst>
              <a:ext uri="{FF2B5EF4-FFF2-40B4-BE49-F238E27FC236}">
                <a16:creationId xmlns:a16="http://schemas.microsoft.com/office/drawing/2014/main" id="{C004A430-06E1-F247-BD92-3DEA179856FB}"/>
              </a:ext>
            </a:extLst>
          </p:cNvPr>
          <p:cNvGrpSpPr>
            <a:grpSpLocks noChangeAspect="1"/>
          </p:cNvGrpSpPr>
          <p:nvPr/>
        </p:nvGrpSpPr>
        <p:grpSpPr>
          <a:xfrm>
            <a:off x="992523" y="5440249"/>
            <a:ext cx="359261" cy="307533"/>
            <a:chOff x="4721669" y="2368064"/>
            <a:chExt cx="434347" cy="371803"/>
          </a:xfrm>
        </p:grpSpPr>
        <p:sp>
          <p:nvSpPr>
            <p:cNvPr id="49" name="Freeform: Shape 48">
              <a:extLst>
                <a:ext uri="{FF2B5EF4-FFF2-40B4-BE49-F238E27FC236}">
                  <a16:creationId xmlns:a16="http://schemas.microsoft.com/office/drawing/2014/main" id="{AA36A98F-DEAA-8C83-7612-8F6FD8DAFDB0}"/>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1"/>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D7A2614C-54A2-8609-FA1D-4D728207E455}"/>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tx2"/>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51" name="Freeform: Shape 50">
              <a:extLst>
                <a:ext uri="{FF2B5EF4-FFF2-40B4-BE49-F238E27FC236}">
                  <a16:creationId xmlns:a16="http://schemas.microsoft.com/office/drawing/2014/main" id="{CB72232F-3048-0179-B4C2-FF7BFBC68693}"/>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pic>
        <p:nvPicPr>
          <p:cNvPr id="52" name="Picture 51">
            <a:extLst>
              <a:ext uri="{FF2B5EF4-FFF2-40B4-BE49-F238E27FC236}">
                <a16:creationId xmlns:a16="http://schemas.microsoft.com/office/drawing/2014/main" id="{D3484713-0108-C3E2-644B-5C81FC64796C}"/>
              </a:ext>
            </a:extLst>
          </p:cNvPr>
          <p:cNvPicPr>
            <a:picLocks noChangeAspect="1"/>
          </p:cNvPicPr>
          <p:nvPr/>
        </p:nvPicPr>
        <p:blipFill rotWithShape="1">
          <a:blip r:embed="rId7"/>
          <a:srcRect t="8209" b="17242"/>
          <a:stretch/>
        </p:blipFill>
        <p:spPr>
          <a:xfrm>
            <a:off x="5927342" y="2662097"/>
            <a:ext cx="3606302" cy="3461972"/>
          </a:xfrm>
          <a:prstGeom prst="rect">
            <a:avLst/>
          </a:prstGeom>
          <a:ln w="9525" cap="flat" cmpd="sng" algn="ctr">
            <a:solidFill>
              <a:schemeClr val="accent5">
                <a:lumMod val="60000"/>
                <a:lumOff val="40000"/>
              </a:schemeClr>
            </a:solidFill>
            <a:prstDash val="solid"/>
            <a:round/>
            <a:headEnd type="none" w="med" len="med"/>
            <a:tailEnd type="none" w="med" len="med"/>
          </a:ln>
        </p:spPr>
      </p:pic>
      <p:grpSp>
        <p:nvGrpSpPr>
          <p:cNvPr id="53" name="Group 52">
            <a:extLst>
              <a:ext uri="{FF2B5EF4-FFF2-40B4-BE49-F238E27FC236}">
                <a16:creationId xmlns:a16="http://schemas.microsoft.com/office/drawing/2014/main" id="{48DB1998-08AD-BBDD-B49F-724F68543FA2}"/>
              </a:ext>
            </a:extLst>
          </p:cNvPr>
          <p:cNvGrpSpPr/>
          <p:nvPr/>
        </p:nvGrpSpPr>
        <p:grpSpPr>
          <a:xfrm>
            <a:off x="918578" y="6124069"/>
            <a:ext cx="3470855" cy="307533"/>
            <a:chOff x="628650" y="6162194"/>
            <a:chExt cx="3470855" cy="307533"/>
          </a:xfrm>
        </p:grpSpPr>
        <p:grpSp>
          <p:nvGrpSpPr>
            <p:cNvPr id="54" name="Group 53">
              <a:extLst>
                <a:ext uri="{FF2B5EF4-FFF2-40B4-BE49-F238E27FC236}">
                  <a16:creationId xmlns:a16="http://schemas.microsoft.com/office/drawing/2014/main" id="{B72FF54C-AD5A-6725-39CB-518562278608}"/>
                </a:ext>
              </a:extLst>
            </p:cNvPr>
            <p:cNvGrpSpPr/>
            <p:nvPr/>
          </p:nvGrpSpPr>
          <p:grpSpPr>
            <a:xfrm>
              <a:off x="628650" y="6162194"/>
              <a:ext cx="1527864" cy="307533"/>
              <a:chOff x="510248" y="6162194"/>
              <a:chExt cx="1527864" cy="307533"/>
            </a:xfrm>
          </p:grpSpPr>
          <p:sp>
            <p:nvSpPr>
              <p:cNvPr id="61" name="TextBox 60">
                <a:extLst>
                  <a:ext uri="{FF2B5EF4-FFF2-40B4-BE49-F238E27FC236}">
                    <a16:creationId xmlns:a16="http://schemas.microsoft.com/office/drawing/2014/main" id="{C26F8F8B-D4D0-032D-F3EC-B8B17056C6F1}"/>
                  </a:ext>
                </a:extLst>
              </p:cNvPr>
              <p:cNvSpPr txBox="1"/>
              <p:nvPr/>
            </p:nvSpPr>
            <p:spPr>
              <a:xfrm>
                <a:off x="956085" y="6223628"/>
                <a:ext cx="1082027"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Applicant action</a:t>
                </a:r>
              </a:p>
            </p:txBody>
          </p:sp>
          <p:grpSp>
            <p:nvGrpSpPr>
              <p:cNvPr id="62" name="Group 61">
                <a:extLst>
                  <a:ext uri="{FF2B5EF4-FFF2-40B4-BE49-F238E27FC236}">
                    <a16:creationId xmlns:a16="http://schemas.microsoft.com/office/drawing/2014/main" id="{D7845BC8-72C0-C1FC-13FA-EEE5A3B71444}"/>
                  </a:ext>
                </a:extLst>
              </p:cNvPr>
              <p:cNvGrpSpPr>
                <a:grpSpLocks noChangeAspect="1"/>
              </p:cNvGrpSpPr>
              <p:nvPr/>
            </p:nvGrpSpPr>
            <p:grpSpPr>
              <a:xfrm>
                <a:off x="510248" y="6162194"/>
                <a:ext cx="359261" cy="307533"/>
                <a:chOff x="4721669" y="2368064"/>
                <a:chExt cx="434347" cy="371803"/>
              </a:xfrm>
            </p:grpSpPr>
            <p:sp>
              <p:nvSpPr>
                <p:cNvPr id="63" name="Freeform: Shape 62">
                  <a:extLst>
                    <a:ext uri="{FF2B5EF4-FFF2-40B4-BE49-F238E27FC236}">
                      <a16:creationId xmlns:a16="http://schemas.microsoft.com/office/drawing/2014/main" id="{36998DB9-33B1-526E-F7A6-FAC5C95E5AFA}"/>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3">
                    <a:lumMod val="50000"/>
                  </a:schemeClr>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41486D57-85FE-63FB-0845-599283053562}"/>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accent3"/>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D90B5408-FE30-42A5-EAF5-299229B15B1B}"/>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grpSp>
        <p:grpSp>
          <p:nvGrpSpPr>
            <p:cNvPr id="55" name="Group 54">
              <a:extLst>
                <a:ext uri="{FF2B5EF4-FFF2-40B4-BE49-F238E27FC236}">
                  <a16:creationId xmlns:a16="http://schemas.microsoft.com/office/drawing/2014/main" id="{09B9FCC2-0C6F-34AF-2A6B-2DF2DD036AEA}"/>
                </a:ext>
              </a:extLst>
            </p:cNvPr>
            <p:cNvGrpSpPr/>
            <p:nvPr/>
          </p:nvGrpSpPr>
          <p:grpSpPr>
            <a:xfrm>
              <a:off x="2417751" y="6162194"/>
              <a:ext cx="1681754" cy="307533"/>
              <a:chOff x="2124688" y="6162194"/>
              <a:chExt cx="1681754" cy="307533"/>
            </a:xfrm>
          </p:grpSpPr>
          <p:sp>
            <p:nvSpPr>
              <p:cNvPr id="56" name="TextBox 55">
                <a:extLst>
                  <a:ext uri="{FF2B5EF4-FFF2-40B4-BE49-F238E27FC236}">
                    <a16:creationId xmlns:a16="http://schemas.microsoft.com/office/drawing/2014/main" id="{E75E01D3-F471-7B9F-7E85-4F7F2BFFF1A9}"/>
                  </a:ext>
                </a:extLst>
              </p:cNvPr>
              <p:cNvSpPr txBox="1"/>
              <p:nvPr/>
            </p:nvSpPr>
            <p:spPr>
              <a:xfrm>
                <a:off x="2570526" y="6223627"/>
                <a:ext cx="1235916"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rgbClr val="000000"/>
                    </a:solidFill>
                    <a:effectLst/>
                    <a:uLnTx/>
                    <a:uFillTx/>
                    <a:latin typeface="Arial" panose="020B0604020202020204"/>
                    <a:ea typeface="+mn-ea"/>
                    <a:cs typeface="+mn-cs"/>
                  </a:rPr>
                  <a:t>ARConnect</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 action</a:t>
                </a:r>
              </a:p>
            </p:txBody>
          </p:sp>
          <p:grpSp>
            <p:nvGrpSpPr>
              <p:cNvPr id="57" name="Group 56">
                <a:extLst>
                  <a:ext uri="{FF2B5EF4-FFF2-40B4-BE49-F238E27FC236}">
                    <a16:creationId xmlns:a16="http://schemas.microsoft.com/office/drawing/2014/main" id="{8F2127DE-DD87-6BCB-BEA6-F2EB9DB5051B}"/>
                  </a:ext>
                </a:extLst>
              </p:cNvPr>
              <p:cNvGrpSpPr>
                <a:grpSpLocks noChangeAspect="1"/>
              </p:cNvGrpSpPr>
              <p:nvPr/>
            </p:nvGrpSpPr>
            <p:grpSpPr>
              <a:xfrm>
                <a:off x="2124688" y="6162194"/>
                <a:ext cx="359261" cy="307533"/>
                <a:chOff x="4721669" y="2368064"/>
                <a:chExt cx="434347" cy="371803"/>
              </a:xfrm>
            </p:grpSpPr>
            <p:sp>
              <p:nvSpPr>
                <p:cNvPr id="58" name="Freeform: Shape 57">
                  <a:extLst>
                    <a:ext uri="{FF2B5EF4-FFF2-40B4-BE49-F238E27FC236}">
                      <a16:creationId xmlns:a16="http://schemas.microsoft.com/office/drawing/2014/main" id="{D2BBE1B5-8614-44FC-60E6-885134BB4D1B}"/>
                    </a:ext>
                  </a:extLst>
                </p:cNvPr>
                <p:cNvSpPr/>
                <p:nvPr/>
              </p:nvSpPr>
              <p:spPr>
                <a:xfrm>
                  <a:off x="4964642" y="2464256"/>
                  <a:ext cx="191374" cy="179415"/>
                </a:xfrm>
                <a:custGeom>
                  <a:avLst/>
                  <a:gdLst>
                    <a:gd name="connsiteX0" fmla="*/ 328604 w 522514"/>
                    <a:gd name="connsiteY0" fmla="*/ 10886 h 377371"/>
                    <a:gd name="connsiteX1" fmla="*/ 10886 w 522514"/>
                    <a:gd name="connsiteY1" fmla="*/ 10886 h 377371"/>
                    <a:gd name="connsiteX2" fmla="*/ 10886 w 522514"/>
                    <a:gd name="connsiteY2" fmla="*/ 368082 h 377371"/>
                    <a:gd name="connsiteX3" fmla="*/ 328604 w 522514"/>
                    <a:gd name="connsiteY3" fmla="*/ 368082 h 377371"/>
                    <a:gd name="connsiteX4" fmla="*/ 521789 w 522514"/>
                    <a:gd name="connsiteY4" fmla="*/ 194346 h 377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514" h="377371">
                      <a:moveTo>
                        <a:pt x="328604" y="10886"/>
                      </a:moveTo>
                      <a:lnTo>
                        <a:pt x="10886" y="10886"/>
                      </a:lnTo>
                      <a:lnTo>
                        <a:pt x="10886" y="368082"/>
                      </a:lnTo>
                      <a:lnTo>
                        <a:pt x="328604" y="368082"/>
                      </a:lnTo>
                      <a:lnTo>
                        <a:pt x="521789" y="194346"/>
                      </a:lnTo>
                      <a:close/>
                    </a:path>
                  </a:pathLst>
                </a:custGeom>
                <a:solidFill>
                  <a:schemeClr val="accent1"/>
                </a:solidFill>
                <a:ln w="952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4B4F0A5E-A200-89EC-29EA-140FFEADAC3E}"/>
                    </a:ext>
                  </a:extLst>
                </p:cNvPr>
                <p:cNvSpPr/>
                <p:nvPr/>
              </p:nvSpPr>
              <p:spPr>
                <a:xfrm>
                  <a:off x="4721669" y="2368064"/>
                  <a:ext cx="371807" cy="371803"/>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chemeClr val="tx2"/>
                </a:solidFill>
                <a:ln w="28575" cap="flat">
                  <a:noFill/>
                  <a:prstDash val="solid"/>
                  <a:miter/>
                </a:ln>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D3D26267-C198-D189-EFD0-7FE5DC59CA67}"/>
                    </a:ext>
                  </a:extLst>
                </p:cNvPr>
                <p:cNvSpPr/>
                <p:nvPr/>
              </p:nvSpPr>
              <p:spPr>
                <a:xfrm>
                  <a:off x="4795695" y="2442096"/>
                  <a:ext cx="223754" cy="223752"/>
                </a:xfrm>
                <a:custGeom>
                  <a:avLst/>
                  <a:gdLst>
                    <a:gd name="connsiteX0" fmla="*/ 1607893 w 1785257"/>
                    <a:gd name="connsiteY0" fmla="*/ 727970 h 1785257"/>
                    <a:gd name="connsiteX1" fmla="*/ 1057987 w 1785257"/>
                    <a:gd name="connsiteY1" fmla="*/ 1607893 h 1785257"/>
                    <a:gd name="connsiteX2" fmla="*/ 178064 w 1785257"/>
                    <a:gd name="connsiteY2" fmla="*/ 1057987 h 1785257"/>
                    <a:gd name="connsiteX3" fmla="*/ 727970 w 1785257"/>
                    <a:gd name="connsiteY3" fmla="*/ 178064 h 1785257"/>
                    <a:gd name="connsiteX4" fmla="*/ 1607893 w 1785257"/>
                    <a:gd name="connsiteY4" fmla="*/ 727970 h 1785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7" h="1785257">
                      <a:moveTo>
                        <a:pt x="1607893" y="727970"/>
                      </a:moveTo>
                      <a:cubicBezTo>
                        <a:pt x="1699025" y="1122806"/>
                        <a:pt x="1452823" y="1516761"/>
                        <a:pt x="1057987" y="1607893"/>
                      </a:cubicBezTo>
                      <a:cubicBezTo>
                        <a:pt x="663150" y="1699025"/>
                        <a:pt x="269195" y="1452823"/>
                        <a:pt x="178064" y="1057987"/>
                      </a:cubicBezTo>
                      <a:cubicBezTo>
                        <a:pt x="86932" y="663150"/>
                        <a:pt x="333133" y="269195"/>
                        <a:pt x="727970" y="178064"/>
                      </a:cubicBezTo>
                      <a:cubicBezTo>
                        <a:pt x="1122806" y="86932"/>
                        <a:pt x="1516762" y="333133"/>
                        <a:pt x="1607893" y="727970"/>
                      </a:cubicBezTo>
                      <a:close/>
                    </a:path>
                  </a:pathLst>
                </a:custGeom>
                <a:solidFill>
                  <a:srgbClr val="FFFFFF"/>
                </a:solidFill>
                <a:ln w="28575" cap="flat">
                  <a:noFill/>
                  <a:prstDash val="solid"/>
                  <a:miter/>
                </a:ln>
                <a:effectLst/>
              </p:spPr>
              <p:txBody>
                <a:bodyPr rtlCol="0" anchor="ctr"/>
                <a:lstStyle/>
                <a:p>
                  <a:pPr marL="0" marR="0" lvl="0" indent="0" algn="l" defTabSz="1218072" rtl="0" eaLnBrk="1" fontAlgn="auto" latinLnBrk="0" hangingPunct="1">
                    <a:lnSpc>
                      <a:spcPct val="100000"/>
                    </a:lnSpc>
                    <a:spcBef>
                      <a:spcPts val="0"/>
                    </a:spcBef>
                    <a:spcAft>
                      <a:spcPts val="0"/>
                    </a:spcAft>
                    <a:buClrTx/>
                    <a:buSzTx/>
                    <a:buFontTx/>
                    <a:buNone/>
                    <a:tabLst/>
                    <a:defRPr/>
                  </a:pPr>
                  <a:endParaRPr kumimoji="0" lang="en-US" sz="2398" b="0" i="0" u="none" strike="noStrike" kern="0" cap="none" spc="0" normalizeH="0" baseline="0" noProof="0">
                    <a:ln>
                      <a:noFill/>
                    </a:ln>
                    <a:solidFill>
                      <a:srgbClr val="2C308A"/>
                    </a:solidFill>
                    <a:effectLst/>
                    <a:uLnTx/>
                    <a:uFillTx/>
                    <a:latin typeface="Arial" panose="020B0604020202020204"/>
                    <a:ea typeface="+mn-ea"/>
                    <a:cs typeface="+mn-cs"/>
                  </a:endParaRPr>
                </a:p>
              </p:txBody>
            </p:sp>
          </p:grpSp>
        </p:grpSp>
      </p:grpSp>
      <p:sp>
        <p:nvSpPr>
          <p:cNvPr id="67" name="Rectangle: Top Corners Rounded 66">
            <a:extLst>
              <a:ext uri="{FF2B5EF4-FFF2-40B4-BE49-F238E27FC236}">
                <a16:creationId xmlns:a16="http://schemas.microsoft.com/office/drawing/2014/main" id="{4AA3C986-B659-7F56-D015-68A429BA31F1}"/>
              </a:ext>
            </a:extLst>
          </p:cNvPr>
          <p:cNvSpPr/>
          <p:nvPr/>
        </p:nvSpPr>
        <p:spPr>
          <a:xfrm>
            <a:off x="5665275" y="1965104"/>
            <a:ext cx="5769204" cy="478024"/>
          </a:xfrm>
          <a:prstGeom prst="round2SameRect">
            <a:avLst>
              <a:gd name="adj1" fmla="val 15791"/>
              <a:gd name="adj2" fmla="val 0"/>
            </a:avLst>
          </a:prstGeom>
          <a:solidFill>
            <a:schemeClr val="tx2"/>
          </a:solidFill>
          <a:ln w="9525" cap="rnd" cmpd="sng" algn="ctr">
            <a:solidFill>
              <a:srgbClr val="1A5B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Sample screenshot of Scoring Rubric from Applicant Primer Section 3</a:t>
            </a:r>
          </a:p>
        </p:txBody>
      </p:sp>
      <p:cxnSp>
        <p:nvCxnSpPr>
          <p:cNvPr id="69" name="Straight Connector 68">
            <a:extLst>
              <a:ext uri="{FF2B5EF4-FFF2-40B4-BE49-F238E27FC236}">
                <a16:creationId xmlns:a16="http://schemas.microsoft.com/office/drawing/2014/main" id="{85AC11F6-4A1D-78C7-E4C5-9AAFB07DDEBE}"/>
              </a:ext>
            </a:extLst>
          </p:cNvPr>
          <p:cNvCxnSpPr/>
          <p:nvPr/>
        </p:nvCxnSpPr>
        <p:spPr>
          <a:xfrm>
            <a:off x="5691548" y="2529885"/>
            <a:ext cx="5769204" cy="0"/>
          </a:xfrm>
          <a:prstGeom prst="line">
            <a:avLst/>
          </a:prstGeom>
          <a:ln w="1905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3F50844C-DCB4-BB58-DCFA-57B15B204469}"/>
              </a:ext>
            </a:extLst>
          </p:cNvPr>
          <p:cNvSpPr txBox="1"/>
          <p:nvPr/>
        </p:nvSpPr>
        <p:spPr>
          <a:xfrm>
            <a:off x="9586169" y="3151517"/>
            <a:ext cx="1939541" cy="2199820"/>
          </a:xfrm>
          <a:prstGeom prst="roundRect">
            <a:avLst>
              <a:gd name="adj" fmla="val 6667"/>
            </a:avLst>
          </a:prstGeom>
          <a:solidFill>
            <a:srgbClr val="FFFFFF"/>
          </a:solidFill>
          <a:ln w="9525" cap="rnd">
            <a:solidFill>
              <a:schemeClr val="tx2"/>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defRPr>
                <a:solidFill>
                  <a:srgbClr val="00000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otal Tranche-3</a:t>
            </a:r>
            <a:b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points: </a:t>
            </a:r>
            <a:r>
              <a:rPr kumimoji="0" lang="en-US" sz="1400" b="1" i="0" u="none" strike="noStrike" kern="1200" cap="none" spc="0" normalizeH="0" baseline="0" noProof="0">
                <a:ln>
                  <a:noFill/>
                </a:ln>
                <a:solidFill>
                  <a:srgbClr val="000000"/>
                </a:solidFill>
                <a:effectLst/>
                <a:uLnTx/>
                <a:uFillTx/>
                <a:latin typeface="Arial" panose="020B0604020202020204"/>
                <a:ea typeface="+mn-ea"/>
                <a:cs typeface="+mn-cs"/>
              </a:rPr>
              <a:t>95</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a:latin typeface="Arial" panose="020B0604020202020204"/>
            </a:endParaRPr>
          </a:p>
          <a:p>
            <a:pPr>
              <a:defRPr/>
            </a:pPr>
            <a:r>
              <a:rPr lang="en-US" sz="1400" b="0" i="1" u="none" strike="noStrike">
                <a:solidFill>
                  <a:schemeClr val="tx2"/>
                </a:solidFill>
                <a:effectLst/>
                <a:latin typeface="+mn-lt"/>
              </a:rPr>
              <a:t>Zero bid </a:t>
            </a:r>
            <a:r>
              <a:rPr lang="en-US" sz="1400" b="0" i="1" u="none" strike="noStrike" err="1">
                <a:solidFill>
                  <a:schemeClr val="tx2"/>
                </a:solidFill>
                <a:effectLst/>
                <a:latin typeface="+mn-lt"/>
              </a:rPr>
              <a:t>CBG</a:t>
            </a:r>
            <a:r>
              <a:rPr lang="en-US" sz="1400" b="0" i="1" u="none" strike="noStrike">
                <a:solidFill>
                  <a:schemeClr val="tx2"/>
                </a:solidFill>
                <a:effectLst/>
                <a:latin typeface="+mn-lt"/>
              </a:rPr>
              <a:t> distinction is no longer relevant and does not need to be scored</a:t>
            </a:r>
            <a:endParaRPr kumimoji="0" lang="en-US" sz="1400" b="0" i="0" u="none" strike="noStrike" kern="1200" cap="none" spc="0" normalizeH="0" baseline="0" noProof="0">
              <a:ln>
                <a:noFill/>
              </a:ln>
              <a:solidFill>
                <a:schemeClr val="tx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AAEB9F8E-B19D-7883-464C-42C9750ABE9A}"/>
              </a:ext>
            </a:extLst>
          </p:cNvPr>
          <p:cNvSpPr txBox="1"/>
          <p:nvPr/>
        </p:nvSpPr>
        <p:spPr>
          <a:xfrm>
            <a:off x="1551279" y="2539436"/>
            <a:ext cx="3921550"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Applicants may choose to submit new bids in Tranche-3</a:t>
            </a:r>
          </a:p>
        </p:txBody>
      </p:sp>
      <p:sp>
        <p:nvSpPr>
          <p:cNvPr id="17" name="TextBox 16">
            <a:extLst>
              <a:ext uri="{FF2B5EF4-FFF2-40B4-BE49-F238E27FC236}">
                <a16:creationId xmlns:a16="http://schemas.microsoft.com/office/drawing/2014/main" id="{543EC2F9-3BF1-37FF-403E-BBF92A1DEBDD}"/>
              </a:ext>
            </a:extLst>
          </p:cNvPr>
          <p:cNvSpPr txBox="1"/>
          <p:nvPr/>
        </p:nvSpPr>
        <p:spPr>
          <a:xfrm>
            <a:off x="1280490" y="1609140"/>
            <a:ext cx="392155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solidFill>
                <a:effectLst/>
                <a:uLnTx/>
                <a:uFillTx/>
                <a:latin typeface="Arial" panose="020B0604020202020204"/>
                <a:ea typeface="+mn-ea"/>
                <a:cs typeface="+mn-cs"/>
              </a:rPr>
              <a:t>Start here:</a:t>
            </a:r>
            <a:r>
              <a:rPr lang="en-US" sz="1200" i="1">
                <a:solidFill>
                  <a:srgbClr val="000000"/>
                </a:solidFill>
                <a:latin typeface="Arial" panose="020B0604020202020204"/>
              </a:rPr>
              <a:t> Results from Tranche-2 and the Partial Award Eligible process are posted in the portal</a:t>
            </a:r>
            <a:endParaRPr kumimoji="0" lang="en-US" sz="1200" b="0" i="1"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9" name="Straight Arrow Connector 18">
            <a:extLst>
              <a:ext uri="{FF2B5EF4-FFF2-40B4-BE49-F238E27FC236}">
                <a16:creationId xmlns:a16="http://schemas.microsoft.com/office/drawing/2014/main" id="{1995F40A-9F0F-9249-C2F7-698C4DCC93B0}"/>
              </a:ext>
            </a:extLst>
          </p:cNvPr>
          <p:cNvCxnSpPr>
            <a:cxnSpLocks/>
          </p:cNvCxnSpPr>
          <p:nvPr/>
        </p:nvCxnSpPr>
        <p:spPr>
          <a:xfrm>
            <a:off x="1164368" y="1845159"/>
            <a:ext cx="0" cy="472259"/>
          </a:xfrm>
          <a:prstGeom prst="straightConnector1">
            <a:avLst/>
          </a:prstGeom>
          <a:ln w="9525" cap="rnd">
            <a:solidFill>
              <a:srgbClr val="9A9A9A"/>
            </a:solidFill>
            <a:prstDash val="solid"/>
            <a:round/>
            <a:tailEnd type="triangle"/>
          </a:ln>
        </p:spPr>
        <p:style>
          <a:lnRef idx="1">
            <a:schemeClr val="accent1"/>
          </a:lnRef>
          <a:fillRef idx="0">
            <a:schemeClr val="accent1"/>
          </a:fillRef>
          <a:effectRef idx="0">
            <a:schemeClr val="accent1"/>
          </a:effectRef>
          <a:fontRef idx="minor">
            <a:schemeClr val="tx1"/>
          </a:fontRef>
        </p:style>
      </p:cxnSp>
      <p:graphicFrame>
        <p:nvGraphicFramePr>
          <p:cNvPr id="13" name="think-cell data - do not delete" hidden="1">
            <a:extLst>
              <a:ext uri="{FF2B5EF4-FFF2-40B4-BE49-F238E27FC236}">
                <a16:creationId xmlns:a16="http://schemas.microsoft.com/office/drawing/2014/main" id="{4107F293-5B4F-9CF7-2497-82DB641991C0}"/>
              </a:ext>
            </a:extLst>
          </p:cNvPr>
          <p:cNvGraphicFramePr>
            <a:graphicFrameLocks noChangeAspect="1"/>
          </p:cNvGraphicFramePr>
          <p:nvPr>
            <p:custDataLst>
              <p:tags r:id="rId2"/>
            </p:custDataLst>
            <p:extLst>
              <p:ext uri="{D42A27DB-BD31-4B8C-83A1-F6EECF244321}">
                <p14:modId xmlns:p14="http://schemas.microsoft.com/office/powerpoint/2010/main" val="1443948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9" imgH="396" progId="TCLayout.ActiveDocument.1">
                  <p:embed/>
                </p:oleObj>
              </mc:Choice>
              <mc:Fallback>
                <p:oleObj name="think-cell Slide" r:id="rId8" imgW="389" imgH="396" progId="TCLayout.ActiveDocument.1">
                  <p:embed/>
                  <p:pic>
                    <p:nvPicPr>
                      <p:cNvPr id="13" name="think-cell data - do not delete" hidden="1">
                        <a:extLst>
                          <a:ext uri="{FF2B5EF4-FFF2-40B4-BE49-F238E27FC236}">
                            <a16:creationId xmlns:a16="http://schemas.microsoft.com/office/drawing/2014/main" id="{4107F293-5B4F-9CF7-2497-82DB641991C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70179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qEZ7KgO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2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 Connect Grid 16:9 - 22209">
  <a:themeElements>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A5BA7"/>
        </a:solidFill>
        <a:ln w="9525" cap="rnd" cmpd="sng" algn="ctr">
          <a:solidFill>
            <a:srgbClr val="1A5BA7"/>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1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2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0.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1.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32.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4.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5.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6.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7.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8.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ppt/theme/themeOverride9.xml><?xml version="1.0" encoding="utf-8"?>
<a:themeOverride xmlns:a="http://schemas.openxmlformats.org/drawingml/2006/main">
  <a:clrScheme name="Grid">
    <a:dk1>
      <a:srgbClr val="020101"/>
    </a:dk1>
    <a:lt1>
      <a:sysClr val="window" lastClr="FFFFFF"/>
    </a:lt1>
    <a:dk2>
      <a:srgbClr val="1A5BA7"/>
    </a:dk2>
    <a:lt2>
      <a:srgbClr val="F2F2F2"/>
    </a:lt2>
    <a:accent1>
      <a:srgbClr val="0D2E53"/>
    </a:accent1>
    <a:accent2>
      <a:srgbClr val="13447D"/>
    </a:accent2>
    <a:accent3>
      <a:srgbClr val="FFD400"/>
    </a:accent3>
    <a:accent4>
      <a:srgbClr val="5A9AE5"/>
    </a:accent4>
    <a:accent5>
      <a:srgbClr val="7C8082"/>
    </a:accent5>
    <a:accent6>
      <a:srgbClr val="DA2131"/>
    </a:accent6>
    <a:hlink>
      <a:srgbClr val="6E4EA5"/>
    </a:hlink>
    <a:folHlink>
      <a:srgbClr val="AC99C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EE44BBFEE55374C8A5AB0EA53ED154B" ma:contentTypeVersion="6" ma:contentTypeDescription="Create a new document." ma:contentTypeScope="" ma:versionID="e4c9fc2919ac8ef8faad2cc414dd0cce">
  <xsd:schema xmlns:xsd="http://www.w3.org/2001/XMLSchema" xmlns:xs="http://www.w3.org/2001/XMLSchema" xmlns:p="http://schemas.microsoft.com/office/2006/metadata/properties" xmlns:ns2="2c7955f9-1c3b-40f9-ae89-c02ea7ec4bb2" xmlns:ns3="7627ecdc-1ee0-474f-8748-8f2677614092" targetNamespace="http://schemas.microsoft.com/office/2006/metadata/properties" ma:root="true" ma:fieldsID="fb6da9faa626e1cd8e0f98822306ac74" ns2:_="" ns3:_="">
    <xsd:import namespace="2c7955f9-1c3b-40f9-ae89-c02ea7ec4bb2"/>
    <xsd:import namespace="7627ecdc-1ee0-474f-8748-8f267761409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955f9-1c3b-40f9-ae89-c02ea7ec4bb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627ecdc-1ee0-474f-8748-8f267761409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DcR_SlideID>da26a68d-4eb7-424f-9eaf-e34e99d3b523</DcR_SlideID>
</file>

<file path=customXml/item5.xml><?xml version="1.0" encoding="utf-8"?>
<DcR_SlideID>4ec2166f-542f-4b85-8f3a-6c5a1a31f996</DcR_SlideID>
</file>

<file path=customXml/itemProps1.xml><?xml version="1.0" encoding="utf-8"?>
<ds:datastoreItem xmlns:ds="http://schemas.openxmlformats.org/officeDocument/2006/customXml" ds:itemID="{B5514A65-BA0C-4931-A70A-D3015C4981D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F758730-1A62-4824-B67B-0DE69241A7AB}">
  <ds:schemaRefs>
    <ds:schemaRef ds:uri="2c7955f9-1c3b-40f9-ae89-c02ea7ec4bb2"/>
    <ds:schemaRef ds:uri="7627ecdc-1ee0-474f-8748-8f26776140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E3F3A2F-0E91-40C0-A3DB-8E6249E94AA3}">
  <ds:schemaRefs>
    <ds:schemaRef ds:uri="http://schemas.microsoft.com/sharepoint/v3/contenttype/forms"/>
  </ds:schemaRefs>
</ds:datastoreItem>
</file>

<file path=customXml/itemProps4.xml><?xml version="1.0" encoding="utf-8"?>
<ds:datastoreItem xmlns:ds="http://schemas.openxmlformats.org/officeDocument/2006/customXml" ds:itemID="{27D66D52-9720-44E9-B13E-46773EB8A0F4}">
  <ds:schemaRefs/>
</ds:datastoreItem>
</file>

<file path=customXml/itemProps5.xml><?xml version="1.0" encoding="utf-8"?>
<ds:datastoreItem xmlns:ds="http://schemas.openxmlformats.org/officeDocument/2006/customXml" ds:itemID="{660B4119-ADA0-4797-948F-E633FADE42FC}">
  <ds:schemaRefs/>
</ds:datastoreItem>
</file>

<file path=docProps/app.xml><?xml version="1.0" encoding="utf-8"?>
<Properties xmlns="http://schemas.openxmlformats.org/officeDocument/2006/extended-properties" xmlns:vt="http://schemas.openxmlformats.org/officeDocument/2006/docPropsVTypes">
  <TotalTime>13</TotalTime>
  <Words>2643</Words>
  <Application>Microsoft Office PowerPoint</Application>
  <PresentationFormat>Widescreen</PresentationFormat>
  <Paragraphs>309</Paragraphs>
  <Slides>14</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ptos</vt:lpstr>
      <vt:lpstr>Arial</vt:lpstr>
      <vt:lpstr>Arial </vt:lpstr>
      <vt:lpstr>Calibri</vt:lpstr>
      <vt:lpstr>Courier New</vt:lpstr>
      <vt:lpstr>Trebuchet MS</vt:lpstr>
      <vt:lpstr>AR Connect Grid 16:9 - 22209</vt:lpstr>
      <vt:lpstr>think-cell Slide</vt:lpstr>
      <vt:lpstr>The Arkansas  BEAD Program</vt:lpstr>
      <vt:lpstr>Recall | Overview of ARConnect's approach to achieving 100% coverage</vt:lpstr>
      <vt:lpstr>Agenda</vt:lpstr>
      <vt:lpstr>Agenda</vt:lpstr>
      <vt:lpstr>Key application submission rules for Tranche-3</vt:lpstr>
      <vt:lpstr>Agenda</vt:lpstr>
      <vt:lpstr>Prior to opening Tranche-3, the CBG claims map will be updated to reflect the outcomes of the Partial Award Eligible Process and any rescinded selections</vt:lpstr>
      <vt:lpstr>Agenda</vt:lpstr>
      <vt:lpstr>Tranche-3 applications are scored and adjudicated after applicants have submitted them</vt:lpstr>
      <vt:lpstr>Restrictions, eligibility, and rules of adjudication for Tranche-3</vt:lpstr>
      <vt:lpstr>Tranche-3 deconfliction scenarios and adjudication results</vt:lpstr>
      <vt:lpstr>Agenda</vt:lpstr>
      <vt:lpstr>ARConnect will only provide technical support during the Tranche-2 application windo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shley Hock</dc:creator>
  <cp:lastModifiedBy>Joseph, Tyler</cp:lastModifiedBy>
  <cp:revision>2</cp:revision>
  <dcterms:created xsi:type="dcterms:W3CDTF">2024-07-23T19:28:19Z</dcterms:created>
  <dcterms:modified xsi:type="dcterms:W3CDTF">2025-04-15T14:1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7-23T19:28:30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b5323118-9c7d-4736-b4be-75e5366fb950</vt:lpwstr>
  </property>
  <property fmtid="{D5CDD505-2E9C-101B-9397-08002B2CF9AE}" pid="8" name="MSIP_Label_7f97ea9d-daff-4c91-a4f1-55d953dbb0fc_ContentBits">
    <vt:lpwstr>0</vt:lpwstr>
  </property>
  <property fmtid="{D5CDD505-2E9C-101B-9397-08002B2CF9AE}" pid="9" name="MSIP_Label_b0d5c4f4-7a29-4385-b7a5-afbe2154ae6f_Enabled">
    <vt:lpwstr>true</vt:lpwstr>
  </property>
  <property fmtid="{D5CDD505-2E9C-101B-9397-08002B2CF9AE}" pid="10" name="MSIP_Label_b0d5c4f4-7a29-4385-b7a5-afbe2154ae6f_SetDate">
    <vt:lpwstr>2024-12-05T18:10:56Z</vt:lpwstr>
  </property>
  <property fmtid="{D5CDD505-2E9C-101B-9397-08002B2CF9AE}" pid="11" name="MSIP_Label_b0d5c4f4-7a29-4385-b7a5-afbe2154ae6f_Method">
    <vt:lpwstr>Standard</vt:lpwstr>
  </property>
  <property fmtid="{D5CDD505-2E9C-101B-9397-08002B2CF9AE}" pid="12" name="MSIP_Label_b0d5c4f4-7a29-4385-b7a5-afbe2154ae6f_Name">
    <vt:lpwstr>Confidential</vt:lpwstr>
  </property>
  <property fmtid="{D5CDD505-2E9C-101B-9397-08002B2CF9AE}" pid="13" name="MSIP_Label_b0d5c4f4-7a29-4385-b7a5-afbe2154ae6f_SiteId">
    <vt:lpwstr>2dfb2f0b-4d21-4268-9559-72926144c918</vt:lpwstr>
  </property>
  <property fmtid="{D5CDD505-2E9C-101B-9397-08002B2CF9AE}" pid="14" name="MSIP_Label_b0d5c4f4-7a29-4385-b7a5-afbe2154ae6f_ActionId">
    <vt:lpwstr>fa3f0815-86bb-4bcf-9ca1-7bfd0e14b159</vt:lpwstr>
  </property>
  <property fmtid="{D5CDD505-2E9C-101B-9397-08002B2CF9AE}" pid="15" name="MSIP_Label_b0d5c4f4-7a29-4385-b7a5-afbe2154ae6f_ContentBits">
    <vt:lpwstr>0</vt:lpwstr>
  </property>
  <property fmtid="{D5CDD505-2E9C-101B-9397-08002B2CF9AE}" pid="16" name="ContentTypeId">
    <vt:lpwstr>0x0101001EE44BBFEE55374C8A5AB0EA53ED154B</vt:lpwstr>
  </property>
</Properties>
</file>